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2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3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4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4048" r:id="rId4"/>
    <p:sldMasterId id="2147484164" r:id="rId5"/>
    <p:sldMasterId id="2147484212" r:id="rId6"/>
    <p:sldMasterId id="2147484247" r:id="rId7"/>
    <p:sldMasterId id="2147484270" r:id="rId8"/>
  </p:sldMasterIdLst>
  <p:notesMasterIdLst>
    <p:notesMasterId r:id="rId55"/>
  </p:notesMasterIdLst>
  <p:handoutMasterIdLst>
    <p:handoutMasterId r:id="rId56"/>
  </p:handoutMasterIdLst>
  <p:sldIdLst>
    <p:sldId id="743" r:id="rId9"/>
    <p:sldId id="5758" r:id="rId10"/>
    <p:sldId id="5760" r:id="rId11"/>
    <p:sldId id="5761" r:id="rId12"/>
    <p:sldId id="5762" r:id="rId13"/>
    <p:sldId id="5750" r:id="rId14"/>
    <p:sldId id="790" r:id="rId15"/>
    <p:sldId id="527" r:id="rId16"/>
    <p:sldId id="744" r:id="rId17"/>
    <p:sldId id="745" r:id="rId18"/>
    <p:sldId id="746" r:id="rId19"/>
    <p:sldId id="782" r:id="rId20"/>
    <p:sldId id="781" r:id="rId21"/>
    <p:sldId id="257" r:id="rId22"/>
    <p:sldId id="2553" r:id="rId23"/>
    <p:sldId id="733" r:id="rId24"/>
    <p:sldId id="534" r:id="rId25"/>
    <p:sldId id="2546" r:id="rId26"/>
    <p:sldId id="2554" r:id="rId27"/>
    <p:sldId id="2582" r:id="rId28"/>
    <p:sldId id="2557" r:id="rId29"/>
    <p:sldId id="2581" r:id="rId30"/>
    <p:sldId id="2566" r:id="rId31"/>
    <p:sldId id="474" r:id="rId32"/>
    <p:sldId id="5752" r:id="rId33"/>
    <p:sldId id="5753" r:id="rId34"/>
    <p:sldId id="2596" r:id="rId35"/>
    <p:sldId id="2588" r:id="rId36"/>
    <p:sldId id="2580" r:id="rId37"/>
    <p:sldId id="2119" r:id="rId38"/>
    <p:sldId id="2572" r:id="rId39"/>
    <p:sldId id="808" r:id="rId40"/>
    <p:sldId id="783" r:id="rId41"/>
    <p:sldId id="784" r:id="rId42"/>
    <p:sldId id="749" r:id="rId43"/>
    <p:sldId id="5756" r:id="rId44"/>
    <p:sldId id="5754" r:id="rId45"/>
    <p:sldId id="5755" r:id="rId46"/>
    <p:sldId id="2586" r:id="rId47"/>
    <p:sldId id="467" r:id="rId48"/>
    <p:sldId id="472" r:id="rId49"/>
    <p:sldId id="469" r:id="rId50"/>
    <p:sldId id="788" r:id="rId51"/>
    <p:sldId id="779" r:id="rId52"/>
    <p:sldId id="2575" r:id="rId53"/>
    <p:sldId id="2587" r:id="rId54"/>
  </p:sldIdLst>
  <p:sldSz cx="12192000" cy="6858000"/>
  <p:notesSz cx="9296400" cy="7010400"/>
  <p:embeddedFontLst>
    <p:embeddedFont>
      <p:font typeface="Calibri" panose="020F0502020204030204" pitchFamily="34" charset="0"/>
      <p:regular r:id="rId57"/>
      <p:bold r:id="rId58"/>
      <p:italic r:id="rId59"/>
      <p:boldItalic r:id="rId60"/>
    </p:embeddedFont>
    <p:embeddedFont>
      <p:font typeface="Calibri Light" panose="020F0302020204030204" pitchFamily="34" charset="0"/>
      <p:regular r:id="rId61"/>
      <p:italic r:id="rId62"/>
    </p:embeddedFont>
    <p:embeddedFont>
      <p:font typeface="Century Gothic" panose="020B0502020202020204" pitchFamily="34" charset="0"/>
      <p:regular r:id="rId63"/>
      <p:bold r:id="rId64"/>
      <p:italic r:id="rId65"/>
      <p:boldItalic r:id="rId66"/>
    </p:embeddedFont>
    <p:embeddedFont>
      <p:font typeface="Cera PRO" panose="00000500000000000000" charset="0"/>
      <p:regular r:id="rId67"/>
      <p:bold r:id="rId68"/>
      <p:italic r:id="rId69"/>
      <p:boldItalic r:id="rId70"/>
    </p:embeddedFont>
    <p:embeddedFont>
      <p:font typeface="Cera PRO Light" panose="00000400000000000000" charset="0"/>
      <p:regular r:id="rId71"/>
      <p:bold r:id="rId72"/>
      <p:italic r:id="rId73"/>
      <p:boldItalic r:id="rId74"/>
    </p:embeddedFont>
    <p:embeddedFont>
      <p:font typeface="Montserrat" panose="00000500000000000000" pitchFamily="2" charset="0"/>
      <p:regular r:id="rId75"/>
      <p:bold r:id="rId76"/>
      <p:italic r:id="rId77"/>
      <p:boldItalic r:id="rId78"/>
    </p:embeddedFont>
    <p:embeddedFont>
      <p:font typeface="Poppins" panose="02000000000000000000" pitchFamily="2" charset="0"/>
      <p:regular r:id="rId79"/>
      <p:bold r:id="rId80"/>
      <p:italic r:id="rId81"/>
      <p:boldItalic r:id="rId82"/>
    </p:embeddedFont>
    <p:embeddedFont>
      <p:font typeface="Poppins Light" panose="02000000000000000000" pitchFamily="2" charset="0"/>
      <p:regular r:id="rId83"/>
      <p:italic r:id="rId84"/>
    </p:embeddedFont>
    <p:embeddedFont>
      <p:font typeface="Poppins Medium" panose="02000000000000000000" pitchFamily="2" charset="0"/>
      <p:regular r:id="rId85"/>
      <p:italic r:id="rId86"/>
    </p:embeddedFont>
    <p:embeddedFont>
      <p:font typeface="Poppins SemiBold" panose="02000000000000000000" pitchFamily="2" charset="0"/>
      <p:bold r:id="rId87"/>
      <p:boldItalic r:id="rId88"/>
    </p:embeddedFont>
    <p:embeddedFont>
      <p:font typeface="Roboto Light" panose="02000000000000000000" pitchFamily="2" charset="0"/>
      <p:regular r:id="rId89"/>
      <p:italic r:id="rId90"/>
    </p:embeddedFont>
    <p:embeddedFont>
      <p:font typeface="Verdana Pro Cond Black" panose="020B0A06030504040204" pitchFamily="34" charset="0"/>
      <p:bold r:id="rId91"/>
      <p:boldItalic r:id="rId9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08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. Eve, Taylor" initials="SET" lastIdx="1" clrIdx="0">
    <p:extLst>
      <p:ext uri="{19B8F6BF-5375-455C-9EA6-DF929625EA0E}">
        <p15:presenceInfo xmlns:p15="http://schemas.microsoft.com/office/powerpoint/2012/main" userId="S::Tsteve@commercebank.com::4da48f17-da62-460d-a451-1e79ae0674e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F0B"/>
    <a:srgbClr val="00B5E2"/>
    <a:srgbClr val="FBBC3F"/>
    <a:srgbClr val="006782"/>
    <a:srgbClr val="006747"/>
    <a:srgbClr val="00907C"/>
    <a:srgbClr val="00A49B"/>
    <a:srgbClr val="00B4B9"/>
    <a:srgbClr val="00676E"/>
    <a:srgbClr val="0404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907" autoAdjust="0"/>
    <p:restoredTop sz="57728" autoAdjust="0"/>
  </p:normalViewPr>
  <p:slideViewPr>
    <p:cSldViewPr snapToGrid="0">
      <p:cViewPr varScale="1">
        <p:scale>
          <a:sx n="65" d="100"/>
          <a:sy n="65" d="100"/>
        </p:scale>
        <p:origin x="1668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06"/>
    </p:cViewPr>
  </p:sorterViewPr>
  <p:notesViewPr>
    <p:cSldViewPr snapToGrid="0">
      <p:cViewPr>
        <p:scale>
          <a:sx n="1" d="2"/>
          <a:sy n="1" d="2"/>
        </p:scale>
        <p:origin x="3390" y="1470"/>
      </p:cViewPr>
      <p:guideLst>
        <p:guide orient="horz" pos="2208"/>
        <p:guide pos="29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notesMaster" Target="notesMasters/notesMaster1.xml"/><Relationship Id="rId63" Type="http://schemas.openxmlformats.org/officeDocument/2006/relationships/font" Target="fonts/font7.fntdata"/><Relationship Id="rId68" Type="http://schemas.openxmlformats.org/officeDocument/2006/relationships/font" Target="fonts/font12.fntdata"/><Relationship Id="rId76" Type="http://schemas.openxmlformats.org/officeDocument/2006/relationships/font" Target="fonts/font20.fntdata"/><Relationship Id="rId84" Type="http://schemas.openxmlformats.org/officeDocument/2006/relationships/font" Target="fonts/font28.fntdata"/><Relationship Id="rId89" Type="http://schemas.openxmlformats.org/officeDocument/2006/relationships/font" Target="fonts/font33.fntdata"/><Relationship Id="rId9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71" Type="http://schemas.openxmlformats.org/officeDocument/2006/relationships/font" Target="fonts/font15.fntdata"/><Relationship Id="rId92" Type="http://schemas.openxmlformats.org/officeDocument/2006/relationships/font" Target="fonts/font36.fntdata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font" Target="fonts/font2.fntdata"/><Relationship Id="rId66" Type="http://schemas.openxmlformats.org/officeDocument/2006/relationships/font" Target="fonts/font10.fntdata"/><Relationship Id="rId74" Type="http://schemas.openxmlformats.org/officeDocument/2006/relationships/font" Target="fonts/font18.fntdata"/><Relationship Id="rId79" Type="http://schemas.openxmlformats.org/officeDocument/2006/relationships/font" Target="fonts/font23.fntdata"/><Relationship Id="rId87" Type="http://schemas.openxmlformats.org/officeDocument/2006/relationships/font" Target="fonts/font31.fntdata"/><Relationship Id="rId5" Type="http://schemas.openxmlformats.org/officeDocument/2006/relationships/slideMaster" Target="slideMasters/slideMaster2.xml"/><Relationship Id="rId61" Type="http://schemas.openxmlformats.org/officeDocument/2006/relationships/font" Target="fonts/font5.fntdata"/><Relationship Id="rId82" Type="http://schemas.openxmlformats.org/officeDocument/2006/relationships/font" Target="fonts/font26.fntdata"/><Relationship Id="rId90" Type="http://schemas.openxmlformats.org/officeDocument/2006/relationships/font" Target="fonts/font34.fntdata"/><Relationship Id="rId95" Type="http://schemas.openxmlformats.org/officeDocument/2006/relationships/viewProps" Target="viewProps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handoutMaster" Target="handoutMasters/handoutMaster1.xml"/><Relationship Id="rId64" Type="http://schemas.openxmlformats.org/officeDocument/2006/relationships/font" Target="fonts/font8.fntdata"/><Relationship Id="rId69" Type="http://schemas.openxmlformats.org/officeDocument/2006/relationships/font" Target="fonts/font13.fntdata"/><Relationship Id="rId77" Type="http://schemas.openxmlformats.org/officeDocument/2006/relationships/font" Target="fonts/font21.fntdata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font" Target="fonts/font16.fntdata"/><Relationship Id="rId80" Type="http://schemas.openxmlformats.org/officeDocument/2006/relationships/font" Target="fonts/font24.fntdata"/><Relationship Id="rId85" Type="http://schemas.openxmlformats.org/officeDocument/2006/relationships/font" Target="fonts/font29.fntdata"/><Relationship Id="rId9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font" Target="fonts/font3.fntdata"/><Relationship Id="rId67" Type="http://schemas.openxmlformats.org/officeDocument/2006/relationships/font" Target="fonts/font11.fntdata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font" Target="fonts/font6.fntdata"/><Relationship Id="rId70" Type="http://schemas.openxmlformats.org/officeDocument/2006/relationships/font" Target="fonts/font14.fntdata"/><Relationship Id="rId75" Type="http://schemas.openxmlformats.org/officeDocument/2006/relationships/font" Target="fonts/font19.fntdata"/><Relationship Id="rId83" Type="http://schemas.openxmlformats.org/officeDocument/2006/relationships/font" Target="fonts/font27.fntdata"/><Relationship Id="rId88" Type="http://schemas.openxmlformats.org/officeDocument/2006/relationships/font" Target="fonts/font32.fntdata"/><Relationship Id="rId91" Type="http://schemas.openxmlformats.org/officeDocument/2006/relationships/font" Target="fonts/font35.fntdata"/><Relationship Id="rId9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font" Target="fonts/font1.fntdata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font" Target="fonts/font4.fntdata"/><Relationship Id="rId65" Type="http://schemas.openxmlformats.org/officeDocument/2006/relationships/font" Target="fonts/font9.fntdata"/><Relationship Id="rId73" Type="http://schemas.openxmlformats.org/officeDocument/2006/relationships/font" Target="fonts/font17.fntdata"/><Relationship Id="rId78" Type="http://schemas.openxmlformats.org/officeDocument/2006/relationships/font" Target="fonts/font22.fntdata"/><Relationship Id="rId81" Type="http://schemas.openxmlformats.org/officeDocument/2006/relationships/font" Target="fonts/font25.fntdata"/><Relationship Id="rId86" Type="http://schemas.openxmlformats.org/officeDocument/2006/relationships/font" Target="fonts/font30.fntdata"/><Relationship Id="rId9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230971568690495"/>
          <c:y val="0.156793930334338"/>
          <c:w val="0.47857853806515377"/>
          <c:h val="0.8241300989451855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edical Debt</c:v>
                </c:pt>
              </c:strCache>
            </c:strRef>
          </c:tx>
          <c:spPr>
            <a:solidFill>
              <a:srgbClr val="FFFF66"/>
            </a:solidFill>
            <a:effectLst>
              <a:outerShdw blurRad="101600" dist="114300" dir="2700000" algn="tl" rotWithShape="0">
                <a:prstClr val="black">
                  <a:alpha val="40000"/>
                </a:prstClr>
              </a:outerShdw>
            </a:effectLst>
          </c:spPr>
          <c:explosion val="6"/>
          <c:dPt>
            <c:idx val="0"/>
            <c:bubble3D val="0"/>
            <c:spPr>
              <a:solidFill>
                <a:schemeClr val="bg2"/>
              </a:solidFill>
              <a:ln>
                <a:noFill/>
              </a:ln>
              <a:effectLst>
                <a:outerShdw blurRad="101600" dist="1143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FFAE-465B-B1A1-DAF27220ABC6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>
                <a:noFill/>
              </a:ln>
              <a:effectLst>
                <a:outerShdw blurRad="101600" dist="1143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FAE-465B-B1A1-DAF27220ABC6}"/>
              </c:ext>
            </c:extLst>
          </c:dPt>
          <c:dPt>
            <c:idx val="2"/>
            <c:bubble3D val="0"/>
            <c:explosion val="5"/>
            <c:spPr>
              <a:gradFill flip="none" rotWithShape="1">
                <a:gsLst>
                  <a:gs pos="0">
                    <a:srgbClr val="FCF220"/>
                  </a:gs>
                  <a:gs pos="29000">
                    <a:srgbClr val="FCF220"/>
                  </a:gs>
                  <a:gs pos="100000">
                    <a:schemeClr val="tx2">
                      <a:lumMod val="75000"/>
                    </a:scheme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  <a:effectLst>
                <a:outerShdw blurRad="101600" dist="1143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FAE-465B-B1A1-DAF27220ABC6}"/>
              </c:ext>
            </c:extLst>
          </c:dPt>
          <c:dPt>
            <c:idx val="3"/>
            <c:bubble3D val="0"/>
            <c:spPr>
              <a:solidFill>
                <a:srgbClr val="FFFF00"/>
              </a:solidFill>
              <a:ln>
                <a:noFill/>
              </a:ln>
              <a:effectLst>
                <a:outerShdw blurRad="101600" dist="1143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FFAE-465B-B1A1-DAF27220ABC6}"/>
              </c:ext>
            </c:extLst>
          </c:dPt>
          <c:dPt>
            <c:idx val="4"/>
            <c:bubble3D val="0"/>
            <c:spPr>
              <a:solidFill>
                <a:srgbClr val="FFC000"/>
              </a:solidFill>
              <a:ln>
                <a:noFill/>
              </a:ln>
              <a:effectLst>
                <a:outerShdw blurRad="101600" dist="1143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FFAE-465B-B1A1-DAF27220ABC6}"/>
              </c:ext>
            </c:extLst>
          </c:dPt>
          <c:dPt>
            <c:idx val="5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101600" dist="1143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D380-4520-A25A-607104E271C8}"/>
              </c:ext>
            </c:extLst>
          </c:dPt>
          <c:dLbls>
            <c:dLbl>
              <c:idx val="0"/>
              <c:layout>
                <c:manualLayout>
                  <c:x val="1.8995184000050177E-2"/>
                  <c:y val="6.115266011691899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3BFDA5D-B363-4C9C-BAE9-F647AA18A5FC}" type="CATEGORYNAME">
                      <a:rPr lang="en-US" sz="200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pPr>
                        <a:defRPr/>
                      </a:pPr>
                      <a:t>[CATEGORY NAME]</a:t>
                    </a:fld>
                    <a:r>
                      <a:rPr lang="en-US" sz="2000" baseline="0" dirty="0">
                        <a:solidFill>
                          <a:schemeClr val="bg1"/>
                        </a:solidFill>
                      </a:rPr>
                      <a:t>
</a:t>
                    </a:r>
                    <a:fld id="{BA9070DC-9F88-44E5-B63E-2BD6F6198637}" type="PERCENTAGE">
                      <a:rPr lang="en-US" sz="2000" baseline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pPr>
                        <a:defRPr/>
                      </a:pPr>
                      <a:t>[PERCENTAGE]</a:t>
                    </a:fld>
                    <a:endParaRPr lang="en-US" sz="2000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253795984332056"/>
                      <c:h val="0.2035580921100310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FAE-465B-B1A1-DAF27220ABC6}"/>
                </c:ext>
              </c:extLst>
            </c:dLbl>
            <c:dLbl>
              <c:idx val="1"/>
              <c:layout>
                <c:manualLayout>
                  <c:x val="9.8594076607324034E-3"/>
                  <c:y val="6.276640515938308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EB8121-FBEB-47AC-871C-4F366A7EB458}" type="CATEGORYNAME">
                      <a:rPr lang="en-US" sz="200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pPr>
                        <a:defRPr sz="2000"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r>
                      <a:rPr lang="en-US" sz="2000" baseline="0" dirty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t>
</a:t>
                    </a:r>
                    <a:fld id="{DF60DEA5-243B-400F-8948-51B5AD2D01B7}" type="PERCENTAGE">
                      <a:rPr lang="en-US" sz="2000" baseline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pPr>
                        <a:defRPr sz="2000">
                          <a:solidFill>
                            <a:schemeClr val="accent1"/>
                          </a:solidFill>
                        </a:defRPr>
                      </a:pPr>
                      <a:t>[PERCENTAGE]</a:t>
                    </a:fld>
                    <a:endParaRPr lang="en-US" sz="2000" baseline="0" dirty="0">
                      <a:solidFill>
                        <a:schemeClr val="tx1">
                          <a:lumMod val="50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815262382987476"/>
                      <c:h val="0.2035580461956138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FAE-465B-B1A1-DAF27220ABC6}"/>
                </c:ext>
              </c:extLst>
            </c:dLbl>
            <c:dLbl>
              <c:idx val="2"/>
              <c:layout>
                <c:manualLayout>
                  <c:x val="0"/>
                  <c:y val="-2.167899309304468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000" dirty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t>$1,000</a:t>
                    </a:r>
                    <a:r>
                      <a:rPr lang="en-US" sz="2000" baseline="0" dirty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t> - $5,000
</a:t>
                    </a:r>
                    <a:fld id="{5263C43F-C3FB-4EEB-8A78-8D70C11306B9}" type="VALUE">
                      <a:rPr lang="en-US" sz="2000" baseline="0" smtClean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VALUE]</a:t>
                    </a:fld>
                    <a:r>
                      <a:rPr lang="en-US" sz="2000" baseline="0" dirty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353859957555128"/>
                      <c:h val="0.1828440292529844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FAE-465B-B1A1-DAF27220ABC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>
                  <c15:layout>
                    <c:manualLayout>
                      <c:w val="0.343610785728931"/>
                      <c:h val="0.2035580461956138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FFAE-465B-B1A1-DAF27220ABC6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9602F19-2EC8-470B-A165-A9A65B11B3F3}" type="CATEGORYNAME">
                      <a:rPr lang="en-US" sz="2000">
                        <a:solidFill>
                          <a:srgbClr val="000000"/>
                        </a:solidFill>
                      </a:rPr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r>
                      <a:rPr lang="en-US" sz="2000" baseline="0" dirty="0">
                        <a:solidFill>
                          <a:srgbClr val="000000"/>
                        </a:solidFill>
                      </a:rPr>
                      <a:t>
</a:t>
                    </a:r>
                    <a:fld id="{01F15818-AD7D-430B-8CA3-B3209B01C8F2}" type="PERCENTAGE">
                      <a:rPr lang="en-US" sz="2000" baseline="0">
                        <a:solidFill>
                          <a:srgbClr val="000000"/>
                        </a:solidFill>
                      </a:rPr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PERCENTAGE]</a:t>
                    </a:fld>
                    <a:endParaRPr lang="en-US" sz="2000" baseline="0" dirty="0">
                      <a:solidFill>
                        <a:srgbClr val="00000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489101050490837"/>
                      <c:h val="0.2257414484228966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FAE-465B-B1A1-DAF27220ABC6}"/>
                </c:ext>
              </c:extLst>
            </c:dLbl>
            <c:dLbl>
              <c:idx val="5"/>
              <c:layout>
                <c:manualLayout>
                  <c:x val="4.4738003450558875E-3"/>
                  <c:y val="-2.266390043760184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000" dirty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t>&gt;$50,000</a:t>
                    </a:r>
                    <a:r>
                      <a:rPr lang="en-US" sz="2000" baseline="0" dirty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t>
</a:t>
                    </a:r>
                    <a:fld id="{8A7DA201-B934-46B6-B0B4-41305E18F413}" type="PERCENTAGE">
                      <a:rPr lang="en-US" sz="2000" baseline="0">
                        <a:solidFill>
                          <a:schemeClr val="tx1">
                            <a:lumMod val="50000"/>
                          </a:schemeClr>
                        </a:solidFill>
                      </a:rPr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PERCENTAGE]</a:t>
                    </a:fld>
                    <a:endParaRPr lang="en-US" sz="2000" baseline="0" dirty="0">
                      <a:solidFill>
                        <a:schemeClr val="tx1">
                          <a:lumMod val="50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D380-4520-A25A-607104E271C8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Less than $500</c:v>
                </c:pt>
                <c:pt idx="1">
                  <c:v>$500 - $1,000</c:v>
                </c:pt>
                <c:pt idx="2">
                  <c:v>$1,000- $5,000</c:v>
                </c:pt>
                <c:pt idx="3">
                  <c:v>$5,000-$10,000</c:v>
                </c:pt>
                <c:pt idx="4">
                  <c:v>$10,000-$50,000</c:v>
                </c:pt>
                <c:pt idx="5">
                  <c:v>More than $50,000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4</c:v>
                </c:pt>
                <c:pt idx="1">
                  <c:v>18</c:v>
                </c:pt>
                <c:pt idx="2">
                  <c:v>32</c:v>
                </c:pt>
                <c:pt idx="3">
                  <c:v>15</c:v>
                </c:pt>
                <c:pt idx="4">
                  <c:v>15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AE-465B-B1A1-DAF27220ABC6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287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981692697906025E-2"/>
          <c:y val="9.9398604373486271E-2"/>
          <c:w val="0.87977220883241247"/>
          <c:h val="0.7814268999582999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5EA-49C8-9B85-A40EF644940F}"/>
              </c:ext>
            </c:extLst>
          </c:dPt>
          <c:dPt>
            <c:idx val="1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5EA-49C8-9B85-A40EF644940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0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5EA-49C8-9B85-A40EF64494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029839498813393E-2"/>
          <c:y val="0.110295761640906"/>
          <c:w val="0.88394032100237319"/>
          <c:h val="0.7639763779527558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673-4347-B405-CF7D89CF2EF7}"/>
              </c:ext>
            </c:extLst>
          </c:dPt>
          <c:dPt>
            <c:idx val="1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673-4347-B405-CF7D89CF2EF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2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73-4347-B405-CF7D89CF2E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029839498813393E-2"/>
          <c:y val="0.110295761640906"/>
          <c:w val="0.88394032100237319"/>
          <c:h val="0.7639763779527558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76A-4278-B633-18F86979B820}"/>
              </c:ext>
            </c:extLst>
          </c:dPt>
          <c:dPt>
            <c:idx val="1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76A-4278-B633-18F86979B82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4</c:v>
                </c:pt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76A-4278-B633-18F86979B8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029839498813393E-2"/>
          <c:y val="0.110295761640906"/>
          <c:w val="0.88394032100237319"/>
          <c:h val="0.7639763779527558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14E-4DCD-9C18-5C35F94DEA50}"/>
              </c:ext>
            </c:extLst>
          </c:dPt>
          <c:dPt>
            <c:idx val="1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14E-4DCD-9C18-5C35F94DEA50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4</c:v>
                </c:pt>
                <c:pt idx="1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14E-4DCD-9C18-5C35F94DEA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svg"/><Relationship Id="rId3" Type="http://schemas.openxmlformats.org/officeDocument/2006/relationships/image" Target="../media/image104.png"/><Relationship Id="rId7" Type="http://schemas.openxmlformats.org/officeDocument/2006/relationships/image" Target="../media/image108.png"/><Relationship Id="rId2" Type="http://schemas.openxmlformats.org/officeDocument/2006/relationships/image" Target="../media/image103.svg"/><Relationship Id="rId1" Type="http://schemas.openxmlformats.org/officeDocument/2006/relationships/image" Target="../media/image102.png"/><Relationship Id="rId6" Type="http://schemas.openxmlformats.org/officeDocument/2006/relationships/image" Target="../media/image107.svg"/><Relationship Id="rId5" Type="http://schemas.openxmlformats.org/officeDocument/2006/relationships/image" Target="../media/image106.png"/><Relationship Id="rId10" Type="http://schemas.openxmlformats.org/officeDocument/2006/relationships/image" Target="../media/image111.svg"/><Relationship Id="rId4" Type="http://schemas.openxmlformats.org/officeDocument/2006/relationships/image" Target="../media/image105.svg"/><Relationship Id="rId9" Type="http://schemas.openxmlformats.org/officeDocument/2006/relationships/image" Target="../media/image110.pn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128.jpeg"/><Relationship Id="rId1" Type="http://schemas.openxmlformats.org/officeDocument/2006/relationships/image" Target="../media/image127.jpeg"/><Relationship Id="rId4" Type="http://schemas.openxmlformats.org/officeDocument/2006/relationships/image" Target="../media/image130.jpe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svg"/><Relationship Id="rId3" Type="http://schemas.openxmlformats.org/officeDocument/2006/relationships/image" Target="../media/image104.png"/><Relationship Id="rId7" Type="http://schemas.openxmlformats.org/officeDocument/2006/relationships/image" Target="../media/image108.png"/><Relationship Id="rId2" Type="http://schemas.openxmlformats.org/officeDocument/2006/relationships/image" Target="../media/image103.svg"/><Relationship Id="rId1" Type="http://schemas.openxmlformats.org/officeDocument/2006/relationships/image" Target="../media/image102.png"/><Relationship Id="rId6" Type="http://schemas.openxmlformats.org/officeDocument/2006/relationships/image" Target="../media/image107.svg"/><Relationship Id="rId5" Type="http://schemas.openxmlformats.org/officeDocument/2006/relationships/image" Target="../media/image106.png"/><Relationship Id="rId10" Type="http://schemas.openxmlformats.org/officeDocument/2006/relationships/image" Target="../media/image111.svg"/><Relationship Id="rId4" Type="http://schemas.openxmlformats.org/officeDocument/2006/relationships/image" Target="../media/image105.svg"/><Relationship Id="rId9" Type="http://schemas.openxmlformats.org/officeDocument/2006/relationships/image" Target="../media/image110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128.jpeg"/><Relationship Id="rId1" Type="http://schemas.openxmlformats.org/officeDocument/2006/relationships/image" Target="../media/image127.jpeg"/><Relationship Id="rId4" Type="http://schemas.openxmlformats.org/officeDocument/2006/relationships/image" Target="../media/image130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617E76-59FE-4A56-B3A1-3C690F7D37D6}" type="doc">
      <dgm:prSet loTypeId="urn:microsoft.com/office/officeart/2005/8/layout/p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46E2FC2-4704-455B-85FA-BED0C843149D}">
      <dgm:prSet phldrT="[Text]"/>
      <dgm:spPr/>
      <dgm:t>
        <a:bodyPr/>
        <a:lstStyle/>
        <a:p>
          <a:r>
            <a:rPr lang="en-US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History of Failed</a:t>
          </a:r>
        </a:p>
        <a:p>
          <a:r>
            <a:rPr lang="en-US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Collections</a:t>
          </a:r>
          <a:endParaRPr lang="en-US" dirty="0"/>
        </a:p>
      </dgm:t>
    </dgm:pt>
    <dgm:pt modelId="{4C35629F-08B2-46D0-9F3F-4E077388F558}" type="parTrans" cxnId="{EDC4B75D-24EE-4675-BACB-346744C55955}">
      <dgm:prSet/>
      <dgm:spPr/>
      <dgm:t>
        <a:bodyPr/>
        <a:lstStyle/>
        <a:p>
          <a:endParaRPr lang="en-US"/>
        </a:p>
      </dgm:t>
    </dgm:pt>
    <dgm:pt modelId="{B191A6B6-00F8-4274-8173-EA7F4AA26D1C}" type="sibTrans" cxnId="{EDC4B75D-24EE-4675-BACB-346744C55955}">
      <dgm:prSet/>
      <dgm:spPr/>
      <dgm:t>
        <a:bodyPr/>
        <a:lstStyle/>
        <a:p>
          <a:endParaRPr lang="en-US"/>
        </a:p>
      </dgm:t>
    </dgm:pt>
    <dgm:pt modelId="{52173D4B-CA49-4013-9945-722BEE01FEE7}">
      <dgm:prSet phldrT="[Text]"/>
      <dgm:spPr/>
      <dgm:t>
        <a:bodyPr/>
        <a:lstStyle/>
        <a:p>
          <a:r>
            <a:rPr lang="en-US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Desire to Focus </a:t>
          </a:r>
        </a:p>
        <a:p>
          <a:r>
            <a:rPr lang="en-US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on Patient Care</a:t>
          </a:r>
          <a:endParaRPr lang="en-US" dirty="0"/>
        </a:p>
      </dgm:t>
    </dgm:pt>
    <dgm:pt modelId="{75C4C08E-1708-435C-86A8-919726D3DB48}" type="parTrans" cxnId="{C43BEA2A-1EF1-4035-AAB3-690CA5BD1C1D}">
      <dgm:prSet/>
      <dgm:spPr/>
      <dgm:t>
        <a:bodyPr/>
        <a:lstStyle/>
        <a:p>
          <a:endParaRPr lang="en-US"/>
        </a:p>
      </dgm:t>
    </dgm:pt>
    <dgm:pt modelId="{7AC2AF26-BD47-41FE-BD49-B74EEE937042}" type="sibTrans" cxnId="{C43BEA2A-1EF1-4035-AAB3-690CA5BD1C1D}">
      <dgm:prSet/>
      <dgm:spPr/>
      <dgm:t>
        <a:bodyPr/>
        <a:lstStyle/>
        <a:p>
          <a:endParaRPr lang="en-US"/>
        </a:p>
      </dgm:t>
    </dgm:pt>
    <dgm:pt modelId="{3011D548-D96D-4C13-83DA-D7F5F23405A3}">
      <dgm:prSet phldrT="[Text]"/>
      <dgm:spPr/>
      <dgm:t>
        <a:bodyPr/>
        <a:lstStyle/>
        <a:p>
          <a:r>
            <a:rPr lang="en-US" dirty="0"/>
            <a:t>Consolidate</a:t>
          </a:r>
          <a:r>
            <a:rPr lang="en-US" baseline="0" dirty="0"/>
            <a:t> Groups</a:t>
          </a:r>
        </a:p>
        <a:p>
          <a:endParaRPr lang="en-US" dirty="0"/>
        </a:p>
      </dgm:t>
    </dgm:pt>
    <dgm:pt modelId="{2D9C30A1-30DC-4547-B0FE-99615D04B261}" type="parTrans" cxnId="{2538588E-C81E-4510-9879-FDD2D29F4C15}">
      <dgm:prSet/>
      <dgm:spPr/>
      <dgm:t>
        <a:bodyPr/>
        <a:lstStyle/>
        <a:p>
          <a:endParaRPr lang="en-US"/>
        </a:p>
      </dgm:t>
    </dgm:pt>
    <dgm:pt modelId="{BB05E565-3E49-4889-9F38-6228F61FC066}" type="sibTrans" cxnId="{2538588E-C81E-4510-9879-FDD2D29F4C15}">
      <dgm:prSet/>
      <dgm:spPr/>
      <dgm:t>
        <a:bodyPr/>
        <a:lstStyle/>
        <a:p>
          <a:endParaRPr lang="en-US"/>
        </a:p>
      </dgm:t>
    </dgm:pt>
    <dgm:pt modelId="{27AC6590-F423-4573-B20B-84ADE5BC27EC}">
      <dgm:prSet phldrT="[Text]"/>
      <dgm:spPr/>
      <dgm:t>
        <a:bodyPr/>
        <a:lstStyle/>
        <a:p>
          <a:r>
            <a:rPr lang="en-US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Change Processes</a:t>
          </a:r>
        </a:p>
      </dgm:t>
    </dgm:pt>
    <dgm:pt modelId="{F7D159B7-AED2-41D1-8A5E-E0F5FB390DE9}" type="parTrans" cxnId="{BFCF15AE-6CEC-4454-BC15-4CC3040EAA0F}">
      <dgm:prSet/>
      <dgm:spPr/>
      <dgm:t>
        <a:bodyPr/>
        <a:lstStyle/>
        <a:p>
          <a:endParaRPr lang="en-US"/>
        </a:p>
      </dgm:t>
    </dgm:pt>
    <dgm:pt modelId="{C4DDA300-F9BC-4600-A83E-7C6B809FB74F}" type="sibTrans" cxnId="{BFCF15AE-6CEC-4454-BC15-4CC3040EAA0F}">
      <dgm:prSet/>
      <dgm:spPr/>
      <dgm:t>
        <a:bodyPr/>
        <a:lstStyle/>
        <a:p>
          <a:endParaRPr lang="en-US"/>
        </a:p>
      </dgm:t>
    </dgm:pt>
    <dgm:pt modelId="{9A289A89-4FD7-4039-AD19-191A0F7B056E}">
      <dgm:prSet/>
      <dgm:spPr/>
      <dgm:t>
        <a:bodyPr/>
        <a:lstStyle/>
        <a:p>
          <a:endParaRPr lang="en-US" dirty="0"/>
        </a:p>
      </dgm:t>
    </dgm:pt>
    <dgm:pt modelId="{ABACDFEB-DC69-40A6-A21A-063BB746ACB8}" type="parTrans" cxnId="{9BAC0F93-F15E-4159-90DE-16BDF990801B}">
      <dgm:prSet/>
      <dgm:spPr/>
      <dgm:t>
        <a:bodyPr/>
        <a:lstStyle/>
        <a:p>
          <a:endParaRPr lang="en-US"/>
        </a:p>
      </dgm:t>
    </dgm:pt>
    <dgm:pt modelId="{24A5D6FF-68A7-4990-8EAA-B479449DE767}" type="sibTrans" cxnId="{9BAC0F93-F15E-4159-90DE-16BDF990801B}">
      <dgm:prSet/>
      <dgm:spPr/>
      <dgm:t>
        <a:bodyPr/>
        <a:lstStyle/>
        <a:p>
          <a:endParaRPr lang="en-US"/>
        </a:p>
      </dgm:t>
    </dgm:pt>
    <dgm:pt modelId="{08C65539-4A68-4356-BECB-E23F0669589D}">
      <dgm:prSet phldrT="[Text]"/>
      <dgm:spPr/>
      <dgm:t>
        <a:bodyPr/>
        <a:lstStyle/>
        <a:p>
          <a:r>
            <a:rPr lang="en-US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Strengthen Relationships</a:t>
          </a:r>
          <a:endParaRPr lang="en-US" dirty="0"/>
        </a:p>
      </dgm:t>
    </dgm:pt>
    <dgm:pt modelId="{76C58B74-D2CE-4849-AD7F-5BC492928682}" type="parTrans" cxnId="{39C8DA5D-9B4B-4820-8DE1-C463606DCB1E}">
      <dgm:prSet/>
      <dgm:spPr/>
      <dgm:t>
        <a:bodyPr/>
        <a:lstStyle/>
        <a:p>
          <a:endParaRPr lang="en-US"/>
        </a:p>
      </dgm:t>
    </dgm:pt>
    <dgm:pt modelId="{91A614F0-74BF-4F8C-90C2-1B27F70BAC25}" type="sibTrans" cxnId="{39C8DA5D-9B4B-4820-8DE1-C463606DCB1E}">
      <dgm:prSet/>
      <dgm:spPr/>
      <dgm:t>
        <a:bodyPr/>
        <a:lstStyle/>
        <a:p>
          <a:endParaRPr lang="en-US"/>
        </a:p>
      </dgm:t>
    </dgm:pt>
    <dgm:pt modelId="{F1C68ED1-56CA-489F-89F5-D62644DBDF03}" type="pres">
      <dgm:prSet presAssocID="{7A617E76-59FE-4A56-B3A1-3C690F7D37D6}" presName="Name0" presStyleCnt="0">
        <dgm:presLayoutVars>
          <dgm:dir/>
          <dgm:resizeHandles val="exact"/>
        </dgm:presLayoutVars>
      </dgm:prSet>
      <dgm:spPr/>
    </dgm:pt>
    <dgm:pt modelId="{3D9A6AB0-6DEC-4C28-AA57-FF16BCFEAA8D}" type="pres">
      <dgm:prSet presAssocID="{146E2FC2-4704-455B-85FA-BED0C843149D}" presName="compNode" presStyleCnt="0"/>
      <dgm:spPr/>
    </dgm:pt>
    <dgm:pt modelId="{E7968393-3FD6-4B57-A32B-73909637BD6D}" type="pres">
      <dgm:prSet presAssocID="{146E2FC2-4704-455B-85FA-BED0C843149D}" presName="pictRect" presStyleLbl="node1" presStyleIdx="0" presStyleCnt="6" custScaleX="84650" custScaleY="76072" custLinFactNeighborX="262" custLinFactNeighborY="10670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23000" b="-23000"/>
          </a:stretch>
        </a:blipFill>
      </dgm:spPr>
      <dgm:extLst>
        <a:ext uri="{E40237B7-FDA0-4F09-8148-C483321AD2D9}">
          <dgm14:cNvPr xmlns:dgm14="http://schemas.microsoft.com/office/drawing/2010/diagram" id="0" name="" descr="Money"/>
        </a:ext>
      </dgm:extLst>
    </dgm:pt>
    <dgm:pt modelId="{CB5927D9-B8EA-4813-86EE-0331A473B7D3}" type="pres">
      <dgm:prSet presAssocID="{146E2FC2-4704-455B-85FA-BED0C843149D}" presName="textRect" presStyleLbl="revTx" presStyleIdx="0" presStyleCnt="6">
        <dgm:presLayoutVars>
          <dgm:bulletEnabled val="1"/>
        </dgm:presLayoutVars>
      </dgm:prSet>
      <dgm:spPr/>
    </dgm:pt>
    <dgm:pt modelId="{F7734E7D-A212-453F-8734-6A07E93DA006}" type="pres">
      <dgm:prSet presAssocID="{B191A6B6-00F8-4274-8173-EA7F4AA26D1C}" presName="sibTrans" presStyleLbl="sibTrans2D1" presStyleIdx="0" presStyleCnt="0"/>
      <dgm:spPr/>
    </dgm:pt>
    <dgm:pt modelId="{B0E22606-0F3D-4848-950E-6F0466BA0B0F}" type="pres">
      <dgm:prSet presAssocID="{52173D4B-CA49-4013-9945-722BEE01FEE7}" presName="compNode" presStyleCnt="0"/>
      <dgm:spPr/>
    </dgm:pt>
    <dgm:pt modelId="{9158B048-CB47-4034-B46E-A58DE156F970}" type="pres">
      <dgm:prSet presAssocID="{52173D4B-CA49-4013-9945-722BEE01FEE7}" presName="pictRect" presStyleLbl="node1" presStyleIdx="1" presStyleCnt="6" custScaleX="94508" custScaleY="81647" custLinFactNeighborX="91443" custLinFactNeighborY="15213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23000" b="-23000"/>
          </a:stretch>
        </a:blipFill>
      </dgm:spPr>
      <dgm:extLst>
        <a:ext uri="{E40237B7-FDA0-4F09-8148-C483321AD2D9}">
          <dgm14:cNvPr xmlns:dgm14="http://schemas.microsoft.com/office/drawing/2010/diagram" id="0" name="" descr="Heart with pulse"/>
        </a:ext>
      </dgm:extLst>
    </dgm:pt>
    <dgm:pt modelId="{852D072E-9078-4A65-8040-9869B1EA904B}" type="pres">
      <dgm:prSet presAssocID="{52173D4B-CA49-4013-9945-722BEE01FEE7}" presName="textRect" presStyleLbl="revTx" presStyleIdx="1" presStyleCnt="6" custLinFactNeighborX="94092" custLinFactNeighborY="7707">
        <dgm:presLayoutVars>
          <dgm:bulletEnabled val="1"/>
        </dgm:presLayoutVars>
      </dgm:prSet>
      <dgm:spPr/>
    </dgm:pt>
    <dgm:pt modelId="{7E672B4A-FB2F-461F-A561-E85EC513F4FF}" type="pres">
      <dgm:prSet presAssocID="{7AC2AF26-BD47-41FE-BD49-B74EEE937042}" presName="sibTrans" presStyleLbl="sibTrans2D1" presStyleIdx="0" presStyleCnt="0"/>
      <dgm:spPr/>
    </dgm:pt>
    <dgm:pt modelId="{83C685A2-36B1-4D85-8EA9-A777DAB1C201}" type="pres">
      <dgm:prSet presAssocID="{3011D548-D96D-4C13-83DA-D7F5F23405A3}" presName="compNode" presStyleCnt="0"/>
      <dgm:spPr/>
    </dgm:pt>
    <dgm:pt modelId="{E6C90D0B-DEDA-41BD-845D-6D8D7A8AD7E8}" type="pres">
      <dgm:prSet presAssocID="{3011D548-D96D-4C13-83DA-D7F5F23405A3}" presName="pictRect" presStyleLbl="node1" presStyleIdx="2" presStyleCnt="6" custScaleX="67172" custScaleY="65752" custLinFactX="-19246" custLinFactY="69484" custLinFactNeighborX="-100000" custLinFactNeighborY="100000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23000" b="-23000"/>
          </a:stretch>
        </a:blipFill>
      </dgm:spPr>
      <dgm:extLst>
        <a:ext uri="{E40237B7-FDA0-4F09-8148-C483321AD2D9}">
          <dgm14:cNvPr xmlns:dgm14="http://schemas.microsoft.com/office/drawing/2010/diagram" id="0" name="" descr="Single gear"/>
        </a:ext>
      </dgm:extLst>
    </dgm:pt>
    <dgm:pt modelId="{EBE8E478-48D7-4685-8B9B-F64B30428692}" type="pres">
      <dgm:prSet presAssocID="{3011D548-D96D-4C13-83DA-D7F5F23405A3}" presName="textRect" presStyleLbl="revTx" presStyleIdx="2" presStyleCnt="6" custLinFactX="-100000" custLinFactY="100000" custLinFactNeighborX="-139486" custLinFactNeighborY="198642">
        <dgm:presLayoutVars>
          <dgm:bulletEnabled val="1"/>
        </dgm:presLayoutVars>
      </dgm:prSet>
      <dgm:spPr/>
    </dgm:pt>
    <dgm:pt modelId="{971D4010-FD0F-40D5-8807-A5899F5AB4F2}" type="pres">
      <dgm:prSet presAssocID="{BB05E565-3E49-4889-9F38-6228F61FC066}" presName="sibTrans" presStyleLbl="sibTrans2D1" presStyleIdx="0" presStyleCnt="0"/>
      <dgm:spPr/>
    </dgm:pt>
    <dgm:pt modelId="{0B1CA031-61AD-477B-B2EF-FF8FDB9C4A59}" type="pres">
      <dgm:prSet presAssocID="{9A289A89-4FD7-4039-AD19-191A0F7B056E}" presName="compNode" presStyleCnt="0"/>
      <dgm:spPr/>
    </dgm:pt>
    <dgm:pt modelId="{A304A194-7587-4B8B-B7FF-382AE87F6033}" type="pres">
      <dgm:prSet presAssocID="{9A289A89-4FD7-4039-AD19-191A0F7B056E}" presName="pictRect" presStyleLbl="node1" presStyleIdx="3" presStyleCnt="6" custScaleX="80119" custScaleY="74526" custLinFactX="100000" custLinFactNeighborX="112520" custLinFactNeighborY="-868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t="-23000" b="-23000"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58FC6CD8-1432-4543-97A0-967C1D1E322E}" type="pres">
      <dgm:prSet presAssocID="{9A289A89-4FD7-4039-AD19-191A0F7B056E}" presName="textRect" presStyleLbl="revTx" presStyleIdx="3" presStyleCnt="6">
        <dgm:presLayoutVars>
          <dgm:bulletEnabled val="1"/>
        </dgm:presLayoutVars>
      </dgm:prSet>
      <dgm:spPr/>
    </dgm:pt>
    <dgm:pt modelId="{00F46A8A-3329-43EC-A5C1-37A58328128F}" type="pres">
      <dgm:prSet presAssocID="{24A5D6FF-68A7-4990-8EAA-B479449DE767}" presName="sibTrans" presStyleLbl="sibTrans2D1" presStyleIdx="0" presStyleCnt="0"/>
      <dgm:spPr/>
    </dgm:pt>
    <dgm:pt modelId="{11B44B4A-9F1C-4B45-82A1-3B34449524BC}" type="pres">
      <dgm:prSet presAssocID="{27AC6590-F423-4573-B20B-84ADE5BC27EC}" presName="compNode" presStyleCnt="0"/>
      <dgm:spPr/>
    </dgm:pt>
    <dgm:pt modelId="{8CEE5AC8-CE3A-4B3E-94BE-EEE2ACA86A07}" type="pres">
      <dgm:prSet presAssocID="{27AC6590-F423-4573-B20B-84ADE5BC27EC}" presName="pictRect" presStyleLbl="node1" presStyleIdx="4" presStyleCnt="6" custScaleX="65596" custScaleY="76169" custLinFactX="-25943" custLinFactNeighborX="-100000" custLinFactNeighborY="2334"/>
      <dgm:spPr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t="-23000" b="-23000"/>
          </a:stretch>
        </a:blipFill>
      </dgm:spPr>
      <dgm:extLst>
        <a:ext uri="{E40237B7-FDA0-4F09-8148-C483321AD2D9}">
          <dgm14:cNvPr xmlns:dgm14="http://schemas.microsoft.com/office/drawing/2010/diagram" id="0" name="" descr="Minimize"/>
        </a:ext>
      </dgm:extLst>
    </dgm:pt>
    <dgm:pt modelId="{D6649E63-BB0D-4A64-AB35-367EF281B387}" type="pres">
      <dgm:prSet presAssocID="{27AC6590-F423-4573-B20B-84ADE5BC27EC}" presName="textRect" presStyleLbl="revTx" presStyleIdx="4" presStyleCnt="6" custLinFactNeighborX="-8513" custLinFactNeighborY="-10342">
        <dgm:presLayoutVars>
          <dgm:bulletEnabled val="1"/>
        </dgm:presLayoutVars>
      </dgm:prSet>
      <dgm:spPr/>
    </dgm:pt>
    <dgm:pt modelId="{1D125B24-1743-464D-9A50-C95A9EB12D6F}" type="pres">
      <dgm:prSet presAssocID="{C4DDA300-F9BC-4600-A83E-7C6B809FB74F}" presName="sibTrans" presStyleLbl="sibTrans2D1" presStyleIdx="0" presStyleCnt="0"/>
      <dgm:spPr/>
    </dgm:pt>
    <dgm:pt modelId="{64C97C58-454D-4C50-A895-42682044CE3F}" type="pres">
      <dgm:prSet presAssocID="{08C65539-4A68-4356-BECB-E23F0669589D}" presName="compNode" presStyleCnt="0"/>
      <dgm:spPr/>
    </dgm:pt>
    <dgm:pt modelId="{2C564692-B548-4795-A7A9-F2DDC3F63B7E}" type="pres">
      <dgm:prSet presAssocID="{08C65539-4A68-4356-BECB-E23F0669589D}" presName="pictRect" presStyleLbl="node1" presStyleIdx="5" presStyleCnt="6" custLinFactX="-7793" custLinFactY="-56303" custLinFactNeighborX="-100000" custLinFactNeighborY="-100000"/>
      <dgm:spPr>
        <a:solidFill>
          <a:schemeClr val="bg1"/>
        </a:solidFill>
      </dgm:spPr>
    </dgm:pt>
    <dgm:pt modelId="{7A6DE270-15D6-4FE2-A27D-56758C03ADD0}" type="pres">
      <dgm:prSet presAssocID="{08C65539-4A68-4356-BECB-E23F0669589D}" presName="textRect" presStyleLbl="revTx" presStyleIdx="5" presStyleCnt="6" custLinFactNeighborX="-6557" custLinFactNeighborY="-48842">
        <dgm:presLayoutVars>
          <dgm:bulletEnabled val="1"/>
        </dgm:presLayoutVars>
      </dgm:prSet>
      <dgm:spPr/>
    </dgm:pt>
  </dgm:ptLst>
  <dgm:cxnLst>
    <dgm:cxn modelId="{AF29CA08-A08C-4E92-83F9-4A19C90911A0}" type="presOf" srcId="{24A5D6FF-68A7-4990-8EAA-B479449DE767}" destId="{00F46A8A-3329-43EC-A5C1-37A58328128F}" srcOrd="0" destOrd="0" presId="urn:microsoft.com/office/officeart/2005/8/layout/pList1"/>
    <dgm:cxn modelId="{C43BEA2A-1EF1-4035-AAB3-690CA5BD1C1D}" srcId="{7A617E76-59FE-4A56-B3A1-3C690F7D37D6}" destId="{52173D4B-CA49-4013-9945-722BEE01FEE7}" srcOrd="1" destOrd="0" parTransId="{75C4C08E-1708-435C-86A8-919726D3DB48}" sibTransId="{7AC2AF26-BD47-41FE-BD49-B74EEE937042}"/>
    <dgm:cxn modelId="{EDC4B75D-24EE-4675-BACB-346744C55955}" srcId="{7A617E76-59FE-4A56-B3A1-3C690F7D37D6}" destId="{146E2FC2-4704-455B-85FA-BED0C843149D}" srcOrd="0" destOrd="0" parTransId="{4C35629F-08B2-46D0-9F3F-4E077388F558}" sibTransId="{B191A6B6-00F8-4274-8173-EA7F4AA26D1C}"/>
    <dgm:cxn modelId="{39C8DA5D-9B4B-4820-8DE1-C463606DCB1E}" srcId="{7A617E76-59FE-4A56-B3A1-3C690F7D37D6}" destId="{08C65539-4A68-4356-BECB-E23F0669589D}" srcOrd="5" destOrd="0" parTransId="{76C58B74-D2CE-4849-AD7F-5BC492928682}" sibTransId="{91A614F0-74BF-4F8C-90C2-1B27F70BAC25}"/>
    <dgm:cxn modelId="{CC134D45-0D41-4A1B-BCE3-1E34410B6652}" type="presOf" srcId="{146E2FC2-4704-455B-85FA-BED0C843149D}" destId="{CB5927D9-B8EA-4813-86EE-0331A473B7D3}" srcOrd="0" destOrd="0" presId="urn:microsoft.com/office/officeart/2005/8/layout/pList1"/>
    <dgm:cxn modelId="{CB8F8948-181E-4D24-AFA3-1DC8516A2C65}" type="presOf" srcId="{B191A6B6-00F8-4274-8173-EA7F4AA26D1C}" destId="{F7734E7D-A212-453F-8734-6A07E93DA006}" srcOrd="0" destOrd="0" presId="urn:microsoft.com/office/officeart/2005/8/layout/pList1"/>
    <dgm:cxn modelId="{CFB52C6E-1327-40C8-945B-F3D6537BEBAD}" type="presOf" srcId="{52173D4B-CA49-4013-9945-722BEE01FEE7}" destId="{852D072E-9078-4A65-8040-9869B1EA904B}" srcOrd="0" destOrd="0" presId="urn:microsoft.com/office/officeart/2005/8/layout/pList1"/>
    <dgm:cxn modelId="{1A25956E-49C2-4B08-9B21-9EE4FF68793B}" type="presOf" srcId="{7AC2AF26-BD47-41FE-BD49-B74EEE937042}" destId="{7E672B4A-FB2F-461F-A561-E85EC513F4FF}" srcOrd="0" destOrd="0" presId="urn:microsoft.com/office/officeart/2005/8/layout/pList1"/>
    <dgm:cxn modelId="{DF524F71-AFE7-47F9-94BF-42A10436444C}" type="presOf" srcId="{BB05E565-3E49-4889-9F38-6228F61FC066}" destId="{971D4010-FD0F-40D5-8807-A5899F5AB4F2}" srcOrd="0" destOrd="0" presId="urn:microsoft.com/office/officeart/2005/8/layout/pList1"/>
    <dgm:cxn modelId="{DFC34252-6283-4634-B456-1AC44A483F2C}" type="presOf" srcId="{7A617E76-59FE-4A56-B3A1-3C690F7D37D6}" destId="{F1C68ED1-56CA-489F-89F5-D62644DBDF03}" srcOrd="0" destOrd="0" presId="urn:microsoft.com/office/officeart/2005/8/layout/pList1"/>
    <dgm:cxn modelId="{4500C58B-4301-4B20-9D0A-1C044DEBE803}" type="presOf" srcId="{9A289A89-4FD7-4039-AD19-191A0F7B056E}" destId="{58FC6CD8-1432-4543-97A0-967C1D1E322E}" srcOrd="0" destOrd="0" presId="urn:microsoft.com/office/officeart/2005/8/layout/pList1"/>
    <dgm:cxn modelId="{2538588E-C81E-4510-9879-FDD2D29F4C15}" srcId="{7A617E76-59FE-4A56-B3A1-3C690F7D37D6}" destId="{3011D548-D96D-4C13-83DA-D7F5F23405A3}" srcOrd="2" destOrd="0" parTransId="{2D9C30A1-30DC-4547-B0FE-99615D04B261}" sibTransId="{BB05E565-3E49-4889-9F38-6228F61FC066}"/>
    <dgm:cxn modelId="{9BAC0F93-F15E-4159-90DE-16BDF990801B}" srcId="{7A617E76-59FE-4A56-B3A1-3C690F7D37D6}" destId="{9A289A89-4FD7-4039-AD19-191A0F7B056E}" srcOrd="3" destOrd="0" parTransId="{ABACDFEB-DC69-40A6-A21A-063BB746ACB8}" sibTransId="{24A5D6FF-68A7-4990-8EAA-B479449DE767}"/>
    <dgm:cxn modelId="{BFCF15AE-6CEC-4454-BC15-4CC3040EAA0F}" srcId="{7A617E76-59FE-4A56-B3A1-3C690F7D37D6}" destId="{27AC6590-F423-4573-B20B-84ADE5BC27EC}" srcOrd="4" destOrd="0" parTransId="{F7D159B7-AED2-41D1-8A5E-E0F5FB390DE9}" sibTransId="{C4DDA300-F9BC-4600-A83E-7C6B809FB74F}"/>
    <dgm:cxn modelId="{A88D28AF-BF97-45D2-9D53-93C4E36DED59}" type="presOf" srcId="{3011D548-D96D-4C13-83DA-D7F5F23405A3}" destId="{EBE8E478-48D7-4685-8B9B-F64B30428692}" srcOrd="0" destOrd="0" presId="urn:microsoft.com/office/officeart/2005/8/layout/pList1"/>
    <dgm:cxn modelId="{6938A6BC-D38F-481B-84C1-F5CA707F52F3}" type="presOf" srcId="{27AC6590-F423-4573-B20B-84ADE5BC27EC}" destId="{D6649E63-BB0D-4A64-AB35-367EF281B387}" srcOrd="0" destOrd="0" presId="urn:microsoft.com/office/officeart/2005/8/layout/pList1"/>
    <dgm:cxn modelId="{FB033BC4-92E3-446D-A8E7-D62C1E033F20}" type="presOf" srcId="{08C65539-4A68-4356-BECB-E23F0669589D}" destId="{7A6DE270-15D6-4FE2-A27D-56758C03ADD0}" srcOrd="0" destOrd="0" presId="urn:microsoft.com/office/officeart/2005/8/layout/pList1"/>
    <dgm:cxn modelId="{FCEAA9E3-A823-4495-9EAB-D873E6DB1B93}" type="presOf" srcId="{C4DDA300-F9BC-4600-A83E-7C6B809FB74F}" destId="{1D125B24-1743-464D-9A50-C95A9EB12D6F}" srcOrd="0" destOrd="0" presId="urn:microsoft.com/office/officeart/2005/8/layout/pList1"/>
    <dgm:cxn modelId="{F64399A8-C7FC-47AE-8DB4-B9BBFC8E7779}" type="presParOf" srcId="{F1C68ED1-56CA-489F-89F5-D62644DBDF03}" destId="{3D9A6AB0-6DEC-4C28-AA57-FF16BCFEAA8D}" srcOrd="0" destOrd="0" presId="urn:microsoft.com/office/officeart/2005/8/layout/pList1"/>
    <dgm:cxn modelId="{D307F42B-D23D-4BD9-B0CD-19D6B751DD9B}" type="presParOf" srcId="{3D9A6AB0-6DEC-4C28-AA57-FF16BCFEAA8D}" destId="{E7968393-3FD6-4B57-A32B-73909637BD6D}" srcOrd="0" destOrd="0" presId="urn:microsoft.com/office/officeart/2005/8/layout/pList1"/>
    <dgm:cxn modelId="{1B6C8008-7D3D-440B-9DE5-00D06F95EF58}" type="presParOf" srcId="{3D9A6AB0-6DEC-4C28-AA57-FF16BCFEAA8D}" destId="{CB5927D9-B8EA-4813-86EE-0331A473B7D3}" srcOrd="1" destOrd="0" presId="urn:microsoft.com/office/officeart/2005/8/layout/pList1"/>
    <dgm:cxn modelId="{6D422A91-53F5-4693-9BCE-D40237C30F47}" type="presParOf" srcId="{F1C68ED1-56CA-489F-89F5-D62644DBDF03}" destId="{F7734E7D-A212-453F-8734-6A07E93DA006}" srcOrd="1" destOrd="0" presId="urn:microsoft.com/office/officeart/2005/8/layout/pList1"/>
    <dgm:cxn modelId="{1093BB3A-C73D-4E0B-BCAA-F80BB6A42342}" type="presParOf" srcId="{F1C68ED1-56CA-489F-89F5-D62644DBDF03}" destId="{B0E22606-0F3D-4848-950E-6F0466BA0B0F}" srcOrd="2" destOrd="0" presId="urn:microsoft.com/office/officeart/2005/8/layout/pList1"/>
    <dgm:cxn modelId="{A3FCC33E-524C-4AD9-8213-BADD98592743}" type="presParOf" srcId="{B0E22606-0F3D-4848-950E-6F0466BA0B0F}" destId="{9158B048-CB47-4034-B46E-A58DE156F970}" srcOrd="0" destOrd="0" presId="urn:microsoft.com/office/officeart/2005/8/layout/pList1"/>
    <dgm:cxn modelId="{6C23DD86-15CD-4815-9087-5D7B0C7D54DB}" type="presParOf" srcId="{B0E22606-0F3D-4848-950E-6F0466BA0B0F}" destId="{852D072E-9078-4A65-8040-9869B1EA904B}" srcOrd="1" destOrd="0" presId="urn:microsoft.com/office/officeart/2005/8/layout/pList1"/>
    <dgm:cxn modelId="{4D2BB1A6-CAE6-4463-B835-3A8969D321FC}" type="presParOf" srcId="{F1C68ED1-56CA-489F-89F5-D62644DBDF03}" destId="{7E672B4A-FB2F-461F-A561-E85EC513F4FF}" srcOrd="3" destOrd="0" presId="urn:microsoft.com/office/officeart/2005/8/layout/pList1"/>
    <dgm:cxn modelId="{326CB568-049B-4B73-AA86-ED3E173E6089}" type="presParOf" srcId="{F1C68ED1-56CA-489F-89F5-D62644DBDF03}" destId="{83C685A2-36B1-4D85-8EA9-A777DAB1C201}" srcOrd="4" destOrd="0" presId="urn:microsoft.com/office/officeart/2005/8/layout/pList1"/>
    <dgm:cxn modelId="{64BBBF0A-C5B0-467C-B430-DEB056E6C564}" type="presParOf" srcId="{83C685A2-36B1-4D85-8EA9-A777DAB1C201}" destId="{E6C90D0B-DEDA-41BD-845D-6D8D7A8AD7E8}" srcOrd="0" destOrd="0" presId="urn:microsoft.com/office/officeart/2005/8/layout/pList1"/>
    <dgm:cxn modelId="{8885F9F8-4AB6-4F9A-A552-EFE7B4113F10}" type="presParOf" srcId="{83C685A2-36B1-4D85-8EA9-A777DAB1C201}" destId="{EBE8E478-48D7-4685-8B9B-F64B30428692}" srcOrd="1" destOrd="0" presId="urn:microsoft.com/office/officeart/2005/8/layout/pList1"/>
    <dgm:cxn modelId="{B8818614-4722-4FF0-B3BD-C5DDFFA0AB37}" type="presParOf" srcId="{F1C68ED1-56CA-489F-89F5-D62644DBDF03}" destId="{971D4010-FD0F-40D5-8807-A5899F5AB4F2}" srcOrd="5" destOrd="0" presId="urn:microsoft.com/office/officeart/2005/8/layout/pList1"/>
    <dgm:cxn modelId="{DE377421-7835-45C9-8549-54E5C1A50E36}" type="presParOf" srcId="{F1C68ED1-56CA-489F-89F5-D62644DBDF03}" destId="{0B1CA031-61AD-477B-B2EF-FF8FDB9C4A59}" srcOrd="6" destOrd="0" presId="urn:microsoft.com/office/officeart/2005/8/layout/pList1"/>
    <dgm:cxn modelId="{C3D87893-2C61-4CAB-B19E-E8E1FB0306ED}" type="presParOf" srcId="{0B1CA031-61AD-477B-B2EF-FF8FDB9C4A59}" destId="{A304A194-7587-4B8B-B7FF-382AE87F6033}" srcOrd="0" destOrd="0" presId="urn:microsoft.com/office/officeart/2005/8/layout/pList1"/>
    <dgm:cxn modelId="{6A316C29-9841-446F-B641-50EC5A1C233D}" type="presParOf" srcId="{0B1CA031-61AD-477B-B2EF-FF8FDB9C4A59}" destId="{58FC6CD8-1432-4543-97A0-967C1D1E322E}" srcOrd="1" destOrd="0" presId="urn:microsoft.com/office/officeart/2005/8/layout/pList1"/>
    <dgm:cxn modelId="{E8DF7900-A4B9-4AEA-BB9D-A54256A5F84E}" type="presParOf" srcId="{F1C68ED1-56CA-489F-89F5-D62644DBDF03}" destId="{00F46A8A-3329-43EC-A5C1-37A58328128F}" srcOrd="7" destOrd="0" presId="urn:microsoft.com/office/officeart/2005/8/layout/pList1"/>
    <dgm:cxn modelId="{B6C4DBCE-114E-49A9-B28D-8D36090F79B4}" type="presParOf" srcId="{F1C68ED1-56CA-489F-89F5-D62644DBDF03}" destId="{11B44B4A-9F1C-4B45-82A1-3B34449524BC}" srcOrd="8" destOrd="0" presId="urn:microsoft.com/office/officeart/2005/8/layout/pList1"/>
    <dgm:cxn modelId="{69D525FF-E9F6-457A-AAD6-EA431439D218}" type="presParOf" srcId="{11B44B4A-9F1C-4B45-82A1-3B34449524BC}" destId="{8CEE5AC8-CE3A-4B3E-94BE-EEE2ACA86A07}" srcOrd="0" destOrd="0" presId="urn:microsoft.com/office/officeart/2005/8/layout/pList1"/>
    <dgm:cxn modelId="{D3C74908-9078-4F73-888F-23457E078C1A}" type="presParOf" srcId="{11B44B4A-9F1C-4B45-82A1-3B34449524BC}" destId="{D6649E63-BB0D-4A64-AB35-367EF281B387}" srcOrd="1" destOrd="0" presId="urn:microsoft.com/office/officeart/2005/8/layout/pList1"/>
    <dgm:cxn modelId="{751873BC-BA26-48BF-B091-3CD716FEFC8C}" type="presParOf" srcId="{F1C68ED1-56CA-489F-89F5-D62644DBDF03}" destId="{1D125B24-1743-464D-9A50-C95A9EB12D6F}" srcOrd="9" destOrd="0" presId="urn:microsoft.com/office/officeart/2005/8/layout/pList1"/>
    <dgm:cxn modelId="{70E804A0-F1CE-4E05-807E-758380663865}" type="presParOf" srcId="{F1C68ED1-56CA-489F-89F5-D62644DBDF03}" destId="{64C97C58-454D-4C50-A895-42682044CE3F}" srcOrd="10" destOrd="0" presId="urn:microsoft.com/office/officeart/2005/8/layout/pList1"/>
    <dgm:cxn modelId="{7F33DB93-172C-4EEA-B685-A1EEBB6DC418}" type="presParOf" srcId="{64C97C58-454D-4C50-A895-42682044CE3F}" destId="{2C564692-B548-4795-A7A9-F2DDC3F63B7E}" srcOrd="0" destOrd="0" presId="urn:microsoft.com/office/officeart/2005/8/layout/pList1"/>
    <dgm:cxn modelId="{C1186585-586E-4F26-B09C-138570924F69}" type="presParOf" srcId="{64C97C58-454D-4C50-A895-42682044CE3F}" destId="{7A6DE270-15D6-4FE2-A27D-56758C03ADD0}" srcOrd="1" destOrd="0" presId="urn:microsoft.com/office/officeart/2005/8/layout/pList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79BB404-4D2D-40FD-B557-ED01E9352711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AC2CB455-F2D5-4A6A-A564-80293627BEFA}">
      <dgm:prSet phldrT="[Text]"/>
      <dgm:spPr>
        <a:solidFill>
          <a:srgbClr val="00B5E2"/>
        </a:solidFill>
      </dgm:spPr>
      <dgm:t>
        <a:bodyPr/>
        <a:lstStyle/>
        <a:p>
          <a:r>
            <a:rPr lang="en-US" dirty="0">
              <a:latin typeface="Poppins" panose="02000000000000000000" pitchFamily="2" charset="0"/>
              <a:cs typeface="Poppins" panose="02000000000000000000" pitchFamily="2" charset="0"/>
            </a:rPr>
            <a:t>Dignity</a:t>
          </a:r>
        </a:p>
      </dgm:t>
    </dgm:pt>
    <dgm:pt modelId="{B5CF7952-CABA-4B3F-988E-6B045C23B0F2}" type="parTrans" cxnId="{654B7F5E-9DE1-4B10-9114-4F83BF132207}">
      <dgm:prSet/>
      <dgm:spPr/>
      <dgm:t>
        <a:bodyPr/>
        <a:lstStyle/>
        <a:p>
          <a:endParaRPr lang="en-US"/>
        </a:p>
      </dgm:t>
    </dgm:pt>
    <dgm:pt modelId="{CD60C447-0CEC-43C7-B1B2-3F82932DBD3C}" type="sibTrans" cxnId="{654B7F5E-9DE1-4B10-9114-4F83BF132207}">
      <dgm:prSet/>
      <dgm:spPr/>
      <dgm:t>
        <a:bodyPr/>
        <a:lstStyle/>
        <a:p>
          <a:endParaRPr lang="en-US"/>
        </a:p>
      </dgm:t>
    </dgm:pt>
    <dgm:pt modelId="{2DD3CC97-55AF-469D-8A25-A11C9D4C6252}">
      <dgm:prSet phldrT="[Text]"/>
      <dgm:spPr>
        <a:solidFill>
          <a:srgbClr val="00B5E2"/>
        </a:solidFill>
      </dgm:spPr>
      <dgm:t>
        <a:bodyPr/>
        <a:lstStyle/>
        <a:p>
          <a:r>
            <a:rPr lang="en-US" dirty="0">
              <a:latin typeface="Poppins" panose="02000000000000000000" pitchFamily="2" charset="0"/>
              <a:cs typeface="Poppins" panose="02000000000000000000" pitchFamily="2" charset="0"/>
            </a:rPr>
            <a:t>Equal Access to Credit</a:t>
          </a:r>
        </a:p>
      </dgm:t>
    </dgm:pt>
    <dgm:pt modelId="{08F710B1-BC99-4CB3-AB2F-B65B392A380B}" type="parTrans" cxnId="{E5051191-6339-4C97-8238-4DCF67AAAFC6}">
      <dgm:prSet/>
      <dgm:spPr/>
      <dgm:t>
        <a:bodyPr/>
        <a:lstStyle/>
        <a:p>
          <a:endParaRPr lang="en-US"/>
        </a:p>
      </dgm:t>
    </dgm:pt>
    <dgm:pt modelId="{F65E232D-9F7C-4BFF-A256-3EEDAE151164}" type="sibTrans" cxnId="{E5051191-6339-4C97-8238-4DCF67AAAFC6}">
      <dgm:prSet/>
      <dgm:spPr/>
      <dgm:t>
        <a:bodyPr/>
        <a:lstStyle/>
        <a:p>
          <a:endParaRPr lang="en-US"/>
        </a:p>
      </dgm:t>
    </dgm:pt>
    <dgm:pt modelId="{353643EE-B0C0-4A4F-B5C5-6ED1DE01D905}">
      <dgm:prSet phldrT="[Text]"/>
      <dgm:spPr/>
      <dgm:t>
        <a:bodyPr/>
        <a:lstStyle/>
        <a:p>
          <a:r>
            <a:rPr lang="en-US" dirty="0">
              <a:latin typeface="Poppins" panose="02000000000000000000" pitchFamily="2" charset="0"/>
              <a:cs typeface="Poppins" panose="02000000000000000000" pitchFamily="2" charset="0"/>
            </a:rPr>
            <a:t>Affordability</a:t>
          </a:r>
        </a:p>
      </dgm:t>
    </dgm:pt>
    <dgm:pt modelId="{4A875593-514C-427F-B7E6-396C8954B7C4}" type="parTrans" cxnId="{5A3EF26D-5A18-4592-90A0-01BF8B5E2F83}">
      <dgm:prSet/>
      <dgm:spPr/>
      <dgm:t>
        <a:bodyPr/>
        <a:lstStyle/>
        <a:p>
          <a:endParaRPr lang="en-US"/>
        </a:p>
      </dgm:t>
    </dgm:pt>
    <dgm:pt modelId="{D873C148-5FAF-40BB-97CE-FAB89204EFFB}" type="sibTrans" cxnId="{5A3EF26D-5A18-4592-90A0-01BF8B5E2F83}">
      <dgm:prSet/>
      <dgm:spPr/>
      <dgm:t>
        <a:bodyPr/>
        <a:lstStyle/>
        <a:p>
          <a:endParaRPr lang="en-US"/>
        </a:p>
      </dgm:t>
    </dgm:pt>
    <dgm:pt modelId="{E0EB3C8B-DC1D-44E0-BC44-4F975F8D2301}">
      <dgm:prSet/>
      <dgm:spPr/>
      <dgm:t>
        <a:bodyPr/>
        <a:lstStyle/>
        <a:p>
          <a:r>
            <a:rPr lang="en-US" dirty="0">
              <a:latin typeface="Poppins" panose="02000000000000000000" pitchFamily="2" charset="0"/>
              <a:cs typeface="Poppins" panose="02000000000000000000" pitchFamily="2" charset="0"/>
            </a:rPr>
            <a:t>Convenience</a:t>
          </a:r>
        </a:p>
      </dgm:t>
    </dgm:pt>
    <dgm:pt modelId="{C99A3877-1BB6-4D68-B9DF-E083357F6383}" type="parTrans" cxnId="{05398AB3-D0E3-4B5C-AF38-9B6E41087D03}">
      <dgm:prSet/>
      <dgm:spPr/>
      <dgm:t>
        <a:bodyPr/>
        <a:lstStyle/>
        <a:p>
          <a:endParaRPr lang="en-US"/>
        </a:p>
      </dgm:t>
    </dgm:pt>
    <dgm:pt modelId="{B5CE07E0-AD5D-430B-A5C6-E996F9754993}" type="sibTrans" cxnId="{05398AB3-D0E3-4B5C-AF38-9B6E41087D03}">
      <dgm:prSet/>
      <dgm:spPr/>
      <dgm:t>
        <a:bodyPr/>
        <a:lstStyle/>
        <a:p>
          <a:endParaRPr lang="en-US"/>
        </a:p>
      </dgm:t>
    </dgm:pt>
    <dgm:pt modelId="{7C080DE1-147F-407A-B8B4-76EDA4BACA50}" type="pres">
      <dgm:prSet presAssocID="{079BB404-4D2D-40FD-B557-ED01E9352711}" presName="linearFlow" presStyleCnt="0">
        <dgm:presLayoutVars>
          <dgm:dir/>
          <dgm:resizeHandles val="exact"/>
        </dgm:presLayoutVars>
      </dgm:prSet>
      <dgm:spPr/>
    </dgm:pt>
    <dgm:pt modelId="{4ED65015-65C1-4952-8324-C3EFF6DB1D6A}" type="pres">
      <dgm:prSet presAssocID="{AC2CB455-F2D5-4A6A-A564-80293627BEFA}" presName="composite" presStyleCnt="0"/>
      <dgm:spPr/>
    </dgm:pt>
    <dgm:pt modelId="{DAB608AA-B2CC-478F-B886-1B4D7B502208}" type="pres">
      <dgm:prSet presAssocID="{AC2CB455-F2D5-4A6A-A564-80293627BEFA}" presName="imgShp" presStyleLbl="fgImgPlace1" presStyleIdx="0" presStyleCnt="4"/>
      <dgm:spPr>
        <a:blipFill dpi="0"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B4B2DC2B-4D9F-45BB-AED0-929240B00C09}" type="pres">
      <dgm:prSet presAssocID="{AC2CB455-F2D5-4A6A-A564-80293627BEFA}" presName="txShp" presStyleLbl="node1" presStyleIdx="0" presStyleCnt="4">
        <dgm:presLayoutVars>
          <dgm:bulletEnabled val="1"/>
        </dgm:presLayoutVars>
      </dgm:prSet>
      <dgm:spPr/>
    </dgm:pt>
    <dgm:pt modelId="{5D473BE7-5BC2-48A3-ACC7-E138D3806AF3}" type="pres">
      <dgm:prSet presAssocID="{CD60C447-0CEC-43C7-B1B2-3F82932DBD3C}" presName="spacing" presStyleCnt="0"/>
      <dgm:spPr/>
    </dgm:pt>
    <dgm:pt modelId="{4C57187C-7A4B-4FEF-96E0-A8D1F3AA518A}" type="pres">
      <dgm:prSet presAssocID="{E0EB3C8B-DC1D-44E0-BC44-4F975F8D2301}" presName="composite" presStyleCnt="0"/>
      <dgm:spPr/>
    </dgm:pt>
    <dgm:pt modelId="{BBF54B97-42FD-4ECF-B96D-D5359A480A56}" type="pres">
      <dgm:prSet presAssocID="{E0EB3C8B-DC1D-44E0-BC44-4F975F8D2301}" presName="imgShp" presStyleLbl="fgImgPlace1" presStyleIdx="1" presStyleCnt="4" custLinFactNeighborX="-3881" custLinFactNeighborY="1294"/>
      <dgm:spPr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F3B67EF4-C190-4D7B-AB38-63B1995C00A5}" type="pres">
      <dgm:prSet presAssocID="{E0EB3C8B-DC1D-44E0-BC44-4F975F8D2301}" presName="txShp" presStyleLbl="node1" presStyleIdx="1" presStyleCnt="4">
        <dgm:presLayoutVars>
          <dgm:bulletEnabled val="1"/>
        </dgm:presLayoutVars>
      </dgm:prSet>
      <dgm:spPr/>
    </dgm:pt>
    <dgm:pt modelId="{D8F09C8A-4B53-4FA9-BDD6-927EEB0D5CAA}" type="pres">
      <dgm:prSet presAssocID="{B5CE07E0-AD5D-430B-A5C6-E996F9754993}" presName="spacing" presStyleCnt="0"/>
      <dgm:spPr/>
    </dgm:pt>
    <dgm:pt modelId="{5AA8C47C-60A3-4F28-A4F2-8109839CEFEB}" type="pres">
      <dgm:prSet presAssocID="{2DD3CC97-55AF-469D-8A25-A11C9D4C6252}" presName="composite" presStyleCnt="0"/>
      <dgm:spPr/>
    </dgm:pt>
    <dgm:pt modelId="{A01E647D-282B-4E9F-8197-B4AA6D954E5B}" type="pres">
      <dgm:prSet presAssocID="{2DD3CC97-55AF-469D-8A25-A11C9D4C6252}" presName="imgShp" presStyleLbl="fgImgPlace1" presStyleIdx="2" presStyleCnt="4"/>
      <dgm:spPr>
        <a:blipFill dpi="0"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823"/>
          </a:stretch>
        </a:blipFill>
      </dgm:spPr>
    </dgm:pt>
    <dgm:pt modelId="{4012D39D-C648-444F-BA47-931B38B0EFE4}" type="pres">
      <dgm:prSet presAssocID="{2DD3CC97-55AF-469D-8A25-A11C9D4C6252}" presName="txShp" presStyleLbl="node1" presStyleIdx="2" presStyleCnt="4">
        <dgm:presLayoutVars>
          <dgm:bulletEnabled val="1"/>
        </dgm:presLayoutVars>
      </dgm:prSet>
      <dgm:spPr/>
    </dgm:pt>
    <dgm:pt modelId="{1B88583F-A361-4357-9733-485972221703}" type="pres">
      <dgm:prSet presAssocID="{F65E232D-9F7C-4BFF-A256-3EEDAE151164}" presName="spacing" presStyleCnt="0"/>
      <dgm:spPr/>
    </dgm:pt>
    <dgm:pt modelId="{90F91BE2-F4B2-400D-9B71-74E5CD541A07}" type="pres">
      <dgm:prSet presAssocID="{353643EE-B0C0-4A4F-B5C5-6ED1DE01D905}" presName="composite" presStyleCnt="0"/>
      <dgm:spPr/>
    </dgm:pt>
    <dgm:pt modelId="{6A7B460E-F1BE-4536-AA3C-6D6225BD3579}" type="pres">
      <dgm:prSet presAssocID="{353643EE-B0C0-4A4F-B5C5-6ED1DE01D905}" presName="imgShp" presStyleLbl="fgImgPlace1" presStyleIdx="3" presStyleCnt="4"/>
      <dgm:spPr>
        <a:blipFill dpi="0" rotWithShape="1"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b="4149"/>
          </a:stretch>
        </a:blipFill>
      </dgm:spPr>
    </dgm:pt>
    <dgm:pt modelId="{691A5658-6FD3-48EC-8029-EF30DDD87FBF}" type="pres">
      <dgm:prSet presAssocID="{353643EE-B0C0-4A4F-B5C5-6ED1DE01D905}" presName="txShp" presStyleLbl="node1" presStyleIdx="3" presStyleCnt="4">
        <dgm:presLayoutVars>
          <dgm:bulletEnabled val="1"/>
        </dgm:presLayoutVars>
      </dgm:prSet>
      <dgm:spPr/>
    </dgm:pt>
  </dgm:ptLst>
  <dgm:cxnLst>
    <dgm:cxn modelId="{F8912C09-0324-4176-9BD8-63F3E3F307D6}" type="presOf" srcId="{2DD3CC97-55AF-469D-8A25-A11C9D4C6252}" destId="{4012D39D-C648-444F-BA47-931B38B0EFE4}" srcOrd="0" destOrd="0" presId="urn:microsoft.com/office/officeart/2005/8/layout/vList3"/>
    <dgm:cxn modelId="{654B7F5E-9DE1-4B10-9114-4F83BF132207}" srcId="{079BB404-4D2D-40FD-B557-ED01E9352711}" destId="{AC2CB455-F2D5-4A6A-A564-80293627BEFA}" srcOrd="0" destOrd="0" parTransId="{B5CF7952-CABA-4B3F-988E-6B045C23B0F2}" sibTransId="{CD60C447-0CEC-43C7-B1B2-3F82932DBD3C}"/>
    <dgm:cxn modelId="{9F2A9461-4411-4351-9197-5578AA08ACB7}" type="presOf" srcId="{353643EE-B0C0-4A4F-B5C5-6ED1DE01D905}" destId="{691A5658-6FD3-48EC-8029-EF30DDD87FBF}" srcOrd="0" destOrd="0" presId="urn:microsoft.com/office/officeart/2005/8/layout/vList3"/>
    <dgm:cxn modelId="{1C23A742-5A63-4CF3-B94C-65AD6334C60B}" type="presOf" srcId="{E0EB3C8B-DC1D-44E0-BC44-4F975F8D2301}" destId="{F3B67EF4-C190-4D7B-AB38-63B1995C00A5}" srcOrd="0" destOrd="0" presId="urn:microsoft.com/office/officeart/2005/8/layout/vList3"/>
    <dgm:cxn modelId="{5A3EF26D-5A18-4592-90A0-01BF8B5E2F83}" srcId="{079BB404-4D2D-40FD-B557-ED01E9352711}" destId="{353643EE-B0C0-4A4F-B5C5-6ED1DE01D905}" srcOrd="3" destOrd="0" parTransId="{4A875593-514C-427F-B7E6-396C8954B7C4}" sibTransId="{D873C148-5FAF-40BB-97CE-FAB89204EFFB}"/>
    <dgm:cxn modelId="{C3740054-ED10-45AA-B06F-7E3D1FB995F0}" type="presOf" srcId="{AC2CB455-F2D5-4A6A-A564-80293627BEFA}" destId="{B4B2DC2B-4D9F-45BB-AED0-929240B00C09}" srcOrd="0" destOrd="0" presId="urn:microsoft.com/office/officeart/2005/8/layout/vList3"/>
    <dgm:cxn modelId="{E5051191-6339-4C97-8238-4DCF67AAAFC6}" srcId="{079BB404-4D2D-40FD-B557-ED01E9352711}" destId="{2DD3CC97-55AF-469D-8A25-A11C9D4C6252}" srcOrd="2" destOrd="0" parTransId="{08F710B1-BC99-4CB3-AB2F-B65B392A380B}" sibTransId="{F65E232D-9F7C-4BFF-A256-3EEDAE151164}"/>
    <dgm:cxn modelId="{05398AB3-D0E3-4B5C-AF38-9B6E41087D03}" srcId="{079BB404-4D2D-40FD-B557-ED01E9352711}" destId="{E0EB3C8B-DC1D-44E0-BC44-4F975F8D2301}" srcOrd="1" destOrd="0" parTransId="{C99A3877-1BB6-4D68-B9DF-E083357F6383}" sibTransId="{B5CE07E0-AD5D-430B-A5C6-E996F9754993}"/>
    <dgm:cxn modelId="{A71573DC-ABB9-420B-8F7D-578F5ECF5C0B}" type="presOf" srcId="{079BB404-4D2D-40FD-B557-ED01E9352711}" destId="{7C080DE1-147F-407A-B8B4-76EDA4BACA50}" srcOrd="0" destOrd="0" presId="urn:microsoft.com/office/officeart/2005/8/layout/vList3"/>
    <dgm:cxn modelId="{A0AF2A09-FDE2-465C-A16B-020DF7610605}" type="presParOf" srcId="{7C080DE1-147F-407A-B8B4-76EDA4BACA50}" destId="{4ED65015-65C1-4952-8324-C3EFF6DB1D6A}" srcOrd="0" destOrd="0" presId="urn:microsoft.com/office/officeart/2005/8/layout/vList3"/>
    <dgm:cxn modelId="{A2B36E56-FE14-4D33-85CE-69E5A6D3F9D7}" type="presParOf" srcId="{4ED65015-65C1-4952-8324-C3EFF6DB1D6A}" destId="{DAB608AA-B2CC-478F-B886-1B4D7B502208}" srcOrd="0" destOrd="0" presId="urn:microsoft.com/office/officeart/2005/8/layout/vList3"/>
    <dgm:cxn modelId="{53D57A80-4AF3-412C-B619-0EDF4F87EF3B}" type="presParOf" srcId="{4ED65015-65C1-4952-8324-C3EFF6DB1D6A}" destId="{B4B2DC2B-4D9F-45BB-AED0-929240B00C09}" srcOrd="1" destOrd="0" presId="urn:microsoft.com/office/officeart/2005/8/layout/vList3"/>
    <dgm:cxn modelId="{B78DD189-1D06-4B8A-8861-5E3AD9D60175}" type="presParOf" srcId="{7C080DE1-147F-407A-B8B4-76EDA4BACA50}" destId="{5D473BE7-5BC2-48A3-ACC7-E138D3806AF3}" srcOrd="1" destOrd="0" presId="urn:microsoft.com/office/officeart/2005/8/layout/vList3"/>
    <dgm:cxn modelId="{761E4C02-8A0F-470E-A3E7-4A2D8240541F}" type="presParOf" srcId="{7C080DE1-147F-407A-B8B4-76EDA4BACA50}" destId="{4C57187C-7A4B-4FEF-96E0-A8D1F3AA518A}" srcOrd="2" destOrd="0" presId="urn:microsoft.com/office/officeart/2005/8/layout/vList3"/>
    <dgm:cxn modelId="{A3F905B6-73B0-466F-83BF-D71968B7700F}" type="presParOf" srcId="{4C57187C-7A4B-4FEF-96E0-A8D1F3AA518A}" destId="{BBF54B97-42FD-4ECF-B96D-D5359A480A56}" srcOrd="0" destOrd="0" presId="urn:microsoft.com/office/officeart/2005/8/layout/vList3"/>
    <dgm:cxn modelId="{951EFC85-EE3D-44A2-BCBB-4C2EC2234AAB}" type="presParOf" srcId="{4C57187C-7A4B-4FEF-96E0-A8D1F3AA518A}" destId="{F3B67EF4-C190-4D7B-AB38-63B1995C00A5}" srcOrd="1" destOrd="0" presId="urn:microsoft.com/office/officeart/2005/8/layout/vList3"/>
    <dgm:cxn modelId="{C4E57A9C-CE7A-4E5B-B221-4F9ED36413DC}" type="presParOf" srcId="{7C080DE1-147F-407A-B8B4-76EDA4BACA50}" destId="{D8F09C8A-4B53-4FA9-BDD6-927EEB0D5CAA}" srcOrd="3" destOrd="0" presId="urn:microsoft.com/office/officeart/2005/8/layout/vList3"/>
    <dgm:cxn modelId="{8EFB9008-C7DE-490E-86F0-75B1616ACDA3}" type="presParOf" srcId="{7C080DE1-147F-407A-B8B4-76EDA4BACA50}" destId="{5AA8C47C-60A3-4F28-A4F2-8109839CEFEB}" srcOrd="4" destOrd="0" presId="urn:microsoft.com/office/officeart/2005/8/layout/vList3"/>
    <dgm:cxn modelId="{E7C0E188-D5AF-42FC-884C-C7FEBF2D4A2B}" type="presParOf" srcId="{5AA8C47C-60A3-4F28-A4F2-8109839CEFEB}" destId="{A01E647D-282B-4E9F-8197-B4AA6D954E5B}" srcOrd="0" destOrd="0" presId="urn:microsoft.com/office/officeart/2005/8/layout/vList3"/>
    <dgm:cxn modelId="{88575481-7BC2-4DDA-8859-33225045866B}" type="presParOf" srcId="{5AA8C47C-60A3-4F28-A4F2-8109839CEFEB}" destId="{4012D39D-C648-444F-BA47-931B38B0EFE4}" srcOrd="1" destOrd="0" presId="urn:microsoft.com/office/officeart/2005/8/layout/vList3"/>
    <dgm:cxn modelId="{94A14DBD-1FBA-4813-9686-C04C18198141}" type="presParOf" srcId="{7C080DE1-147F-407A-B8B4-76EDA4BACA50}" destId="{1B88583F-A361-4357-9733-485972221703}" srcOrd="5" destOrd="0" presId="urn:microsoft.com/office/officeart/2005/8/layout/vList3"/>
    <dgm:cxn modelId="{05756F7E-252F-4778-A0FC-F55E0046574C}" type="presParOf" srcId="{7C080DE1-147F-407A-B8B4-76EDA4BACA50}" destId="{90F91BE2-F4B2-400D-9B71-74E5CD541A07}" srcOrd="6" destOrd="0" presId="urn:microsoft.com/office/officeart/2005/8/layout/vList3"/>
    <dgm:cxn modelId="{4DD7F8CC-34B1-49C0-919C-A403526B1AA5}" type="presParOf" srcId="{90F91BE2-F4B2-400D-9B71-74E5CD541A07}" destId="{6A7B460E-F1BE-4536-AA3C-6D6225BD3579}" srcOrd="0" destOrd="0" presId="urn:microsoft.com/office/officeart/2005/8/layout/vList3"/>
    <dgm:cxn modelId="{C2806CF2-8E1E-4984-9FF6-93143A96CD63}" type="presParOf" srcId="{90F91BE2-F4B2-400D-9B71-74E5CD541A07}" destId="{691A5658-6FD3-48EC-8029-EF30DDD87FBF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A3AEA69-A822-4AED-B845-0ADC5B0211CD}" type="doc">
      <dgm:prSet loTypeId="urn:microsoft.com/office/officeart/2005/8/layout/matrix1" loCatId="matrix" qsTypeId="urn:microsoft.com/office/officeart/2005/8/quickstyle/simple2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8179CF4-FBFA-4695-8BFD-FB7F4F2D5401}">
      <dgm:prSet phldrT="[Text]" custT="1"/>
      <dgm:spPr/>
      <dgm:t>
        <a:bodyPr/>
        <a:lstStyle/>
        <a:p>
          <a:pPr>
            <a:lnSpc>
              <a:spcPct val="80000"/>
            </a:lnSpc>
            <a:spcAft>
              <a:spcPts val="0"/>
            </a:spcAft>
          </a:pPr>
          <a:r>
            <a:rPr lang="en-US" sz="2400" b="0" dirty="0">
              <a:latin typeface="Poppins SemiBold" panose="02000000000000000000" pitchFamily="2" charset="0"/>
              <a:cs typeface="Poppins SemiBold" panose="02000000000000000000" pitchFamily="2" charset="0"/>
            </a:rPr>
            <a:t>Reduce Expense</a:t>
          </a:r>
        </a:p>
      </dgm:t>
    </dgm:pt>
    <dgm:pt modelId="{30331AE2-F901-4C6D-92C0-5C0152824FF9}" type="parTrans" cxnId="{7B9749C1-B0E2-4F9F-B8ED-7461B12EDD0E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F6D93EC6-BB37-425E-A867-E907F0A1CDDB}" type="sibTrans" cxnId="{7B9749C1-B0E2-4F9F-B8ED-7461B12EDD0E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1593AD45-E27B-43AF-B61F-D2259A06797F}">
      <dgm:prSet phldrT="[Text]"/>
      <dgm:spPr/>
      <dgm:t>
        <a:bodyPr anchor="b"/>
        <a:lstStyle/>
        <a:p>
          <a:r>
            <a:rPr lang="en-US" dirty="0">
              <a:latin typeface="Poppins" panose="02000000000000000000" pitchFamily="2" charset="0"/>
              <a:cs typeface="Poppins" panose="02000000000000000000" pitchFamily="2" charset="0"/>
            </a:rPr>
            <a:t>Eliminate, reduce cost of collections</a:t>
          </a:r>
        </a:p>
      </dgm:t>
    </dgm:pt>
    <dgm:pt modelId="{9C5390B8-7B26-4504-954E-11CC76E10966}" type="parTrans" cxnId="{F30F76B3-4F27-4173-A32B-A118CB06C25E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C67529C3-2BF3-48E8-B5F1-CC8FA6B3630D}" type="sibTrans" cxnId="{F30F76B3-4F27-4173-A32B-A118CB06C25E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CBCC1D56-F714-447C-BE9F-A98BB43042B9}">
      <dgm:prSet phldrT="[Text]"/>
      <dgm:spPr/>
      <dgm:t>
        <a:bodyPr anchor="b"/>
        <a:lstStyle/>
        <a:p>
          <a:r>
            <a:rPr lang="en-US" dirty="0">
              <a:latin typeface="Poppins" panose="02000000000000000000" pitchFamily="2" charset="0"/>
              <a:cs typeface="Poppins" panose="02000000000000000000" pitchFamily="2" charset="0"/>
            </a:rPr>
            <a:t>Cut quantity of monthly statements</a:t>
          </a:r>
        </a:p>
      </dgm:t>
    </dgm:pt>
    <dgm:pt modelId="{B1EDD20F-FF6A-4E18-9308-141038D44FCC}" type="parTrans" cxnId="{0C9E2C78-A747-40EF-A51A-3187E488E7E6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3C15127A-83D7-4CBD-9FE4-D9F59C6F1AF4}" type="sibTrans" cxnId="{0C9E2C78-A747-40EF-A51A-3187E488E7E6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B07D9586-8EC0-452B-8531-0B7E866577B2}">
      <dgm:prSet phldrT="[Text]"/>
      <dgm:spPr>
        <a:solidFill>
          <a:srgbClr val="FBBC3F"/>
        </a:solidFill>
      </dgm:spPr>
      <dgm:t>
        <a:bodyPr anchor="t" anchorCtr="1"/>
        <a:lstStyle/>
        <a:p>
          <a:r>
            <a:rPr lang="en-US" dirty="0">
              <a:latin typeface="Poppins" panose="02000000000000000000" pitchFamily="2" charset="0"/>
              <a:cs typeface="Poppins" panose="02000000000000000000" pitchFamily="2" charset="0"/>
            </a:rPr>
            <a:t>Reduce time tracking in system</a:t>
          </a:r>
        </a:p>
      </dgm:t>
    </dgm:pt>
    <dgm:pt modelId="{FBF047A5-2291-4A70-85C6-48DFB78A71ED}" type="parTrans" cxnId="{3D89068D-B49F-4CCD-B947-3BA504AF0DB9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3CD16C96-6149-4990-A84B-900AD4197788}" type="sibTrans" cxnId="{3D89068D-B49F-4CCD-B947-3BA504AF0DB9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6DECF4F4-816F-42C1-BEF4-3AA4D461CA73}">
      <dgm:prSet phldrT="[Text]"/>
      <dgm:spPr/>
      <dgm:t>
        <a:bodyPr anchor="t"/>
        <a:lstStyle/>
        <a:p>
          <a:r>
            <a:rPr lang="en-US" dirty="0">
              <a:latin typeface="Poppins" panose="02000000000000000000" pitchFamily="2" charset="0"/>
              <a:cs typeface="Poppins" panose="02000000000000000000" pitchFamily="2" charset="0"/>
            </a:rPr>
            <a:t>Time value of money – collect cash up front!</a:t>
          </a:r>
        </a:p>
      </dgm:t>
    </dgm:pt>
    <dgm:pt modelId="{00CE7BF3-6AC4-43FD-9420-A9131DDBA0DF}" type="parTrans" cxnId="{CB7536D4-8532-4CCF-B868-2E2D0D8E509C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C323D59C-A64E-455A-B0C6-9A7377962E0C}" type="sibTrans" cxnId="{CB7536D4-8532-4CCF-B868-2E2D0D8E509C}">
      <dgm:prSet/>
      <dgm:spPr/>
      <dgm:t>
        <a:bodyPr/>
        <a:lstStyle/>
        <a:p>
          <a:endParaRPr lang="en-US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2AF034CE-8A5E-49D6-ACC4-577AC3C6C8CD}" type="pres">
      <dgm:prSet presAssocID="{8A3AEA69-A822-4AED-B845-0ADC5B0211CD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D1D46929-5808-4D92-AFE0-9820A29D9A56}" type="pres">
      <dgm:prSet presAssocID="{8A3AEA69-A822-4AED-B845-0ADC5B0211CD}" presName="matrix" presStyleCnt="0"/>
      <dgm:spPr/>
    </dgm:pt>
    <dgm:pt modelId="{078F4263-657B-49B5-AC03-C78C5BA97072}" type="pres">
      <dgm:prSet presAssocID="{8A3AEA69-A822-4AED-B845-0ADC5B0211CD}" presName="tile1" presStyleLbl="node1" presStyleIdx="0" presStyleCnt="4"/>
      <dgm:spPr/>
    </dgm:pt>
    <dgm:pt modelId="{22E88B96-699E-4824-817C-6B91AEE44090}" type="pres">
      <dgm:prSet presAssocID="{8A3AEA69-A822-4AED-B845-0ADC5B0211C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DDF83D6F-5430-4492-95E3-B1F7257368A3}" type="pres">
      <dgm:prSet presAssocID="{8A3AEA69-A822-4AED-B845-0ADC5B0211CD}" presName="tile2" presStyleLbl="node1" presStyleIdx="1" presStyleCnt="4" custLinFactNeighborX="0"/>
      <dgm:spPr/>
    </dgm:pt>
    <dgm:pt modelId="{E4067905-C356-4755-BF64-81FCEB67500F}" type="pres">
      <dgm:prSet presAssocID="{8A3AEA69-A822-4AED-B845-0ADC5B0211C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CA6E4C5A-6FA8-42E9-AA6C-A7E7D23BFAEA}" type="pres">
      <dgm:prSet presAssocID="{8A3AEA69-A822-4AED-B845-0ADC5B0211CD}" presName="tile3" presStyleLbl="node1" presStyleIdx="2" presStyleCnt="4"/>
      <dgm:spPr/>
    </dgm:pt>
    <dgm:pt modelId="{DEA68F64-97FE-46CA-988D-93B8165E0028}" type="pres">
      <dgm:prSet presAssocID="{8A3AEA69-A822-4AED-B845-0ADC5B0211C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0D57A478-16EF-4657-AED5-EF3BC15588DC}" type="pres">
      <dgm:prSet presAssocID="{8A3AEA69-A822-4AED-B845-0ADC5B0211CD}" presName="tile4" presStyleLbl="node1" presStyleIdx="3" presStyleCnt="4" custLinFactNeighborY="763"/>
      <dgm:spPr/>
    </dgm:pt>
    <dgm:pt modelId="{EF18FBCA-50F0-434A-A581-5AC59F22B6ED}" type="pres">
      <dgm:prSet presAssocID="{8A3AEA69-A822-4AED-B845-0ADC5B0211C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3E50EEED-A4ED-4FD6-8A37-204CD5E9FF39}" type="pres">
      <dgm:prSet presAssocID="{8A3AEA69-A822-4AED-B845-0ADC5B0211CD}" presName="centerTile" presStyleLbl="fgShp" presStyleIdx="0" presStyleCnt="1" custScaleX="133333" custLinFactNeighborX="0" custLinFactNeighborY="1770">
        <dgm:presLayoutVars>
          <dgm:chMax val="0"/>
          <dgm:chPref val="0"/>
        </dgm:presLayoutVars>
      </dgm:prSet>
      <dgm:spPr/>
    </dgm:pt>
  </dgm:ptLst>
  <dgm:cxnLst>
    <dgm:cxn modelId="{FA484B17-1015-437A-8FDA-CB4C39265723}" type="presOf" srcId="{CBCC1D56-F714-447C-BE9F-A98BB43042B9}" destId="{DDF83D6F-5430-4492-95E3-B1F7257368A3}" srcOrd="0" destOrd="0" presId="urn:microsoft.com/office/officeart/2005/8/layout/matrix1"/>
    <dgm:cxn modelId="{9A1A875E-764D-4F80-843A-F3E499E27015}" type="presOf" srcId="{1593AD45-E27B-43AF-B61F-D2259A06797F}" destId="{22E88B96-699E-4824-817C-6B91AEE44090}" srcOrd="1" destOrd="0" presId="urn:microsoft.com/office/officeart/2005/8/layout/matrix1"/>
    <dgm:cxn modelId="{A05C3566-F3A4-4287-9737-944FD5D3FEF7}" type="presOf" srcId="{6DECF4F4-816F-42C1-BEF4-3AA4D461CA73}" destId="{EF18FBCA-50F0-434A-A581-5AC59F22B6ED}" srcOrd="1" destOrd="0" presId="urn:microsoft.com/office/officeart/2005/8/layout/matrix1"/>
    <dgm:cxn modelId="{883F674B-E3D3-48DC-BEF4-9705AB58FFF9}" type="presOf" srcId="{CBCC1D56-F714-447C-BE9F-A98BB43042B9}" destId="{E4067905-C356-4755-BF64-81FCEB67500F}" srcOrd="1" destOrd="0" presId="urn:microsoft.com/office/officeart/2005/8/layout/matrix1"/>
    <dgm:cxn modelId="{0C9E2C78-A747-40EF-A51A-3187E488E7E6}" srcId="{68179CF4-FBFA-4695-8BFD-FB7F4F2D5401}" destId="{CBCC1D56-F714-447C-BE9F-A98BB43042B9}" srcOrd="1" destOrd="0" parTransId="{B1EDD20F-FF6A-4E18-9308-141038D44FCC}" sibTransId="{3C15127A-83D7-4CBD-9FE4-D9F59C6F1AF4}"/>
    <dgm:cxn modelId="{3D89068D-B49F-4CCD-B947-3BA504AF0DB9}" srcId="{68179CF4-FBFA-4695-8BFD-FB7F4F2D5401}" destId="{B07D9586-8EC0-452B-8531-0B7E866577B2}" srcOrd="2" destOrd="0" parTransId="{FBF047A5-2291-4A70-85C6-48DFB78A71ED}" sibTransId="{3CD16C96-6149-4990-A84B-900AD4197788}"/>
    <dgm:cxn modelId="{3F40258D-E1F7-477F-9B8C-6264E2A5DDE1}" type="presOf" srcId="{B07D9586-8EC0-452B-8531-0B7E866577B2}" destId="{DEA68F64-97FE-46CA-988D-93B8165E0028}" srcOrd="1" destOrd="0" presId="urn:microsoft.com/office/officeart/2005/8/layout/matrix1"/>
    <dgm:cxn modelId="{BF725BA1-74A6-4B61-AA60-58C871D5AEA5}" type="presOf" srcId="{68179CF4-FBFA-4695-8BFD-FB7F4F2D5401}" destId="{3E50EEED-A4ED-4FD6-8A37-204CD5E9FF39}" srcOrd="0" destOrd="0" presId="urn:microsoft.com/office/officeart/2005/8/layout/matrix1"/>
    <dgm:cxn modelId="{4A7E1FA2-18E4-401A-BEEE-93B6042DB42E}" type="presOf" srcId="{B07D9586-8EC0-452B-8531-0B7E866577B2}" destId="{CA6E4C5A-6FA8-42E9-AA6C-A7E7D23BFAEA}" srcOrd="0" destOrd="0" presId="urn:microsoft.com/office/officeart/2005/8/layout/matrix1"/>
    <dgm:cxn modelId="{AAF8C3AD-B2C9-413E-A3A7-3EB60DD9BE98}" type="presOf" srcId="{1593AD45-E27B-43AF-B61F-D2259A06797F}" destId="{078F4263-657B-49B5-AC03-C78C5BA97072}" srcOrd="0" destOrd="0" presId="urn:microsoft.com/office/officeart/2005/8/layout/matrix1"/>
    <dgm:cxn modelId="{F30F76B3-4F27-4173-A32B-A118CB06C25E}" srcId="{68179CF4-FBFA-4695-8BFD-FB7F4F2D5401}" destId="{1593AD45-E27B-43AF-B61F-D2259A06797F}" srcOrd="0" destOrd="0" parTransId="{9C5390B8-7B26-4504-954E-11CC76E10966}" sibTransId="{C67529C3-2BF3-48E8-B5F1-CC8FA6B3630D}"/>
    <dgm:cxn modelId="{7B9749C1-B0E2-4F9F-B8ED-7461B12EDD0E}" srcId="{8A3AEA69-A822-4AED-B845-0ADC5B0211CD}" destId="{68179CF4-FBFA-4695-8BFD-FB7F4F2D5401}" srcOrd="0" destOrd="0" parTransId="{30331AE2-F901-4C6D-92C0-5C0152824FF9}" sibTransId="{F6D93EC6-BB37-425E-A867-E907F0A1CDDB}"/>
    <dgm:cxn modelId="{02F40BC8-5509-4412-8F6B-C16D21C386C3}" type="presOf" srcId="{6DECF4F4-816F-42C1-BEF4-3AA4D461CA73}" destId="{0D57A478-16EF-4657-AED5-EF3BC15588DC}" srcOrd="0" destOrd="0" presId="urn:microsoft.com/office/officeart/2005/8/layout/matrix1"/>
    <dgm:cxn modelId="{CB7536D4-8532-4CCF-B868-2E2D0D8E509C}" srcId="{68179CF4-FBFA-4695-8BFD-FB7F4F2D5401}" destId="{6DECF4F4-816F-42C1-BEF4-3AA4D461CA73}" srcOrd="3" destOrd="0" parTransId="{00CE7BF3-6AC4-43FD-9420-A9131DDBA0DF}" sibTransId="{C323D59C-A64E-455A-B0C6-9A7377962E0C}"/>
    <dgm:cxn modelId="{15858AE5-A7F3-49AD-9060-492CE82C225D}" type="presOf" srcId="{8A3AEA69-A822-4AED-B845-0ADC5B0211CD}" destId="{2AF034CE-8A5E-49D6-ACC4-577AC3C6C8CD}" srcOrd="0" destOrd="0" presId="urn:microsoft.com/office/officeart/2005/8/layout/matrix1"/>
    <dgm:cxn modelId="{782A8FAA-3DAD-45E7-9B21-9FEF87AE2C17}" type="presParOf" srcId="{2AF034CE-8A5E-49D6-ACC4-577AC3C6C8CD}" destId="{D1D46929-5808-4D92-AFE0-9820A29D9A56}" srcOrd="0" destOrd="0" presId="urn:microsoft.com/office/officeart/2005/8/layout/matrix1"/>
    <dgm:cxn modelId="{84B182F9-C817-4BB5-A856-E925E0F4BFE6}" type="presParOf" srcId="{D1D46929-5808-4D92-AFE0-9820A29D9A56}" destId="{078F4263-657B-49B5-AC03-C78C5BA97072}" srcOrd="0" destOrd="0" presId="urn:microsoft.com/office/officeart/2005/8/layout/matrix1"/>
    <dgm:cxn modelId="{3C37D467-C29A-4958-A451-F1303FB07C15}" type="presParOf" srcId="{D1D46929-5808-4D92-AFE0-9820A29D9A56}" destId="{22E88B96-699E-4824-817C-6B91AEE44090}" srcOrd="1" destOrd="0" presId="urn:microsoft.com/office/officeart/2005/8/layout/matrix1"/>
    <dgm:cxn modelId="{7ADDA6DB-2A88-4723-864E-7C73962779E4}" type="presParOf" srcId="{D1D46929-5808-4D92-AFE0-9820A29D9A56}" destId="{DDF83D6F-5430-4492-95E3-B1F7257368A3}" srcOrd="2" destOrd="0" presId="urn:microsoft.com/office/officeart/2005/8/layout/matrix1"/>
    <dgm:cxn modelId="{BCF7DE45-A9B4-4352-99A3-D199EB2D508F}" type="presParOf" srcId="{D1D46929-5808-4D92-AFE0-9820A29D9A56}" destId="{E4067905-C356-4755-BF64-81FCEB67500F}" srcOrd="3" destOrd="0" presId="urn:microsoft.com/office/officeart/2005/8/layout/matrix1"/>
    <dgm:cxn modelId="{71E711F7-0586-406C-ABC8-D05CC34AF50F}" type="presParOf" srcId="{D1D46929-5808-4D92-AFE0-9820A29D9A56}" destId="{CA6E4C5A-6FA8-42E9-AA6C-A7E7D23BFAEA}" srcOrd="4" destOrd="0" presId="urn:microsoft.com/office/officeart/2005/8/layout/matrix1"/>
    <dgm:cxn modelId="{0BABCB8D-D350-477C-9C29-27CAA877322E}" type="presParOf" srcId="{D1D46929-5808-4D92-AFE0-9820A29D9A56}" destId="{DEA68F64-97FE-46CA-988D-93B8165E0028}" srcOrd="5" destOrd="0" presId="urn:microsoft.com/office/officeart/2005/8/layout/matrix1"/>
    <dgm:cxn modelId="{86350206-F32C-499E-A1A5-BA6781D448B6}" type="presParOf" srcId="{D1D46929-5808-4D92-AFE0-9820A29D9A56}" destId="{0D57A478-16EF-4657-AED5-EF3BC15588DC}" srcOrd="6" destOrd="0" presId="urn:microsoft.com/office/officeart/2005/8/layout/matrix1"/>
    <dgm:cxn modelId="{F5ECFB50-B6D4-4D6A-AC5B-4A5A47965B4F}" type="presParOf" srcId="{D1D46929-5808-4D92-AFE0-9820A29D9A56}" destId="{EF18FBCA-50F0-434A-A581-5AC59F22B6ED}" srcOrd="7" destOrd="0" presId="urn:microsoft.com/office/officeart/2005/8/layout/matrix1"/>
    <dgm:cxn modelId="{2F9A1EAC-4A1F-4D1C-83BD-D67C17F34352}" type="presParOf" srcId="{2AF034CE-8A5E-49D6-ACC4-577AC3C6C8CD}" destId="{3E50EEED-A4ED-4FD6-8A37-204CD5E9FF39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EE0880D-3B17-4CA1-B828-2F03BF1A4F39}" type="doc">
      <dgm:prSet loTypeId="urn:microsoft.com/office/officeart/2005/8/layout/equation2" loCatId="process" qsTypeId="urn:microsoft.com/office/officeart/2005/8/quickstyle/simple1" qsCatId="simple" csTypeId="urn:microsoft.com/office/officeart/2005/8/colors/colorful2" csCatId="colorful" phldr="1"/>
      <dgm:spPr/>
    </dgm:pt>
    <dgm:pt modelId="{F12873BA-29DB-4D43-8833-8B3D71C0EBDB}">
      <dgm:prSet phldrT="[Text]" custT="1"/>
      <dgm:spPr/>
      <dgm:t>
        <a:bodyPr/>
        <a:lstStyle/>
        <a:p>
          <a:r>
            <a:rPr lang="en-US" sz="1600" b="0" dirty="0">
              <a:latin typeface="Poppins" panose="02000000000000000000" pitchFamily="2" charset="0"/>
              <a:cs typeface="Poppins" panose="02000000000000000000" pitchFamily="2" charset="0"/>
            </a:rPr>
            <a:t>to get the team to buy in.</a:t>
          </a:r>
        </a:p>
      </dgm:t>
    </dgm:pt>
    <dgm:pt modelId="{27315370-0602-4CC8-ADD2-EF939A685108}" type="parTrans" cxnId="{7E33AE0A-E91B-43AC-A385-AC2D490CAAFA}">
      <dgm:prSet/>
      <dgm:spPr/>
      <dgm:t>
        <a:bodyPr/>
        <a:lstStyle/>
        <a:p>
          <a:endParaRPr lang="en-US" b="1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B0187539-98DB-4196-961C-AC145A06E3F1}" type="sibTrans" cxnId="{7E33AE0A-E91B-43AC-A385-AC2D490CAAFA}">
      <dgm:prSet/>
      <dgm:spPr>
        <a:solidFill>
          <a:srgbClr val="FBBC3F"/>
        </a:solidFill>
      </dgm:spPr>
      <dgm:t>
        <a:bodyPr/>
        <a:lstStyle/>
        <a:p>
          <a:endParaRPr lang="en-US" b="1" dirty="0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192D41A0-F843-4143-91EB-C746CD73ECBB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600" b="0" dirty="0">
              <a:latin typeface="Poppins" panose="02000000000000000000" pitchFamily="2" charset="0"/>
              <a:cs typeface="Poppins" panose="02000000000000000000" pitchFamily="2" charset="0"/>
            </a:rPr>
            <a:t>to automate enrollment</a:t>
          </a:r>
        </a:p>
      </dgm:t>
    </dgm:pt>
    <dgm:pt modelId="{147AE64F-9279-484C-90C7-581C884F5D84}" type="parTrans" cxnId="{C715CD39-DE7D-4B45-BBFF-C0723CAD6725}">
      <dgm:prSet/>
      <dgm:spPr/>
      <dgm:t>
        <a:bodyPr/>
        <a:lstStyle/>
        <a:p>
          <a:endParaRPr lang="en-US" b="1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7F57F1EB-F928-44E0-9D5C-95FBD4F03829}" type="sibTrans" cxnId="{C715CD39-DE7D-4B45-BBFF-C0723CAD6725}">
      <dgm:prSet/>
      <dgm:spPr>
        <a:solidFill>
          <a:srgbClr val="FBBC3F"/>
        </a:solidFill>
      </dgm:spPr>
      <dgm:t>
        <a:bodyPr/>
        <a:lstStyle/>
        <a:p>
          <a:endParaRPr lang="en-US" b="1" dirty="0">
            <a:solidFill>
              <a:srgbClr val="006782"/>
            </a:solidFill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1BD6A568-E591-4CFA-B4A8-00CC87781C6B}">
      <dgm:prSet phldrT="[Text]" custT="1"/>
      <dgm:spPr/>
      <dgm:t>
        <a:bodyPr/>
        <a:lstStyle/>
        <a:p>
          <a:pPr algn="ctr">
            <a:lnSpc>
              <a:spcPct val="100000"/>
            </a:lnSpc>
            <a:spcAft>
              <a:spcPts val="0"/>
            </a:spcAft>
            <a:buClr>
              <a:srgbClr val="404146"/>
            </a:buClr>
          </a:pPr>
          <a:r>
            <a:rPr lang="en-US" sz="1600" b="1" u="sng" dirty="0">
              <a:latin typeface="Poppins" panose="02000000000000000000" pitchFamily="2" charset="0"/>
              <a:cs typeface="Poppins" panose="02000000000000000000" pitchFamily="2" charset="0"/>
            </a:rPr>
            <a:t>Dedicate training </a:t>
          </a:r>
        </a:p>
        <a:p>
          <a:pPr algn="ctr">
            <a:lnSpc>
              <a:spcPct val="100000"/>
            </a:lnSpc>
            <a:spcAft>
              <a:spcPts val="600"/>
            </a:spcAft>
            <a:buClr>
              <a:srgbClr val="404146"/>
            </a:buClr>
          </a:pPr>
          <a:r>
            <a:rPr lang="en-US" sz="1600" b="0" dirty="0">
              <a:latin typeface="Poppins" panose="02000000000000000000" pitchFamily="2" charset="0"/>
              <a:cs typeface="Poppins" panose="02000000000000000000" pitchFamily="2" charset="0"/>
            </a:rPr>
            <a:t>to the team on the value of payment options to patient financial experience and ease of enrollment through automation.</a:t>
          </a:r>
        </a:p>
        <a:p>
          <a:pPr algn="ctr">
            <a:lnSpc>
              <a:spcPct val="100000"/>
            </a:lnSpc>
            <a:spcAft>
              <a:spcPts val="600"/>
            </a:spcAft>
            <a:buClr>
              <a:srgbClr val="404146"/>
            </a:buClr>
          </a:pPr>
          <a:r>
            <a:rPr lang="en-US" sz="1600" b="0" dirty="0">
              <a:latin typeface="Poppins" panose="02000000000000000000" pitchFamily="2" charset="0"/>
              <a:cs typeface="Poppins" panose="02000000000000000000" pitchFamily="2" charset="0"/>
            </a:rPr>
            <a:t> </a:t>
          </a:r>
        </a:p>
      </dgm:t>
    </dgm:pt>
    <dgm:pt modelId="{67E27AE4-B3F2-49B3-837D-A4F82489EAA8}" type="parTrans" cxnId="{908B23D6-5E31-4555-8936-A34452EE18F8}">
      <dgm:prSet/>
      <dgm:spPr/>
      <dgm:t>
        <a:bodyPr/>
        <a:lstStyle/>
        <a:p>
          <a:endParaRPr lang="en-US" b="1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255956C3-6C4B-47E4-8054-7680521C42B0}" type="sibTrans" cxnId="{908B23D6-5E31-4555-8936-A34452EE18F8}">
      <dgm:prSet/>
      <dgm:spPr/>
      <dgm:t>
        <a:bodyPr/>
        <a:lstStyle/>
        <a:p>
          <a:endParaRPr lang="en-US" b="1">
            <a:latin typeface="Poppins" panose="02000000000000000000" pitchFamily="2" charset="0"/>
            <a:cs typeface="Poppins" panose="02000000000000000000" pitchFamily="2" charset="0"/>
          </a:endParaRPr>
        </a:p>
      </dgm:t>
    </dgm:pt>
    <dgm:pt modelId="{86A4FB50-67AE-449C-8A29-6A79FAC08A41}" type="pres">
      <dgm:prSet presAssocID="{8EE0880D-3B17-4CA1-B828-2F03BF1A4F39}" presName="Name0" presStyleCnt="0">
        <dgm:presLayoutVars>
          <dgm:dir/>
          <dgm:resizeHandles val="exact"/>
        </dgm:presLayoutVars>
      </dgm:prSet>
      <dgm:spPr/>
    </dgm:pt>
    <dgm:pt modelId="{88AF6435-9473-4F92-BC50-11B698CF448C}" type="pres">
      <dgm:prSet presAssocID="{8EE0880D-3B17-4CA1-B828-2F03BF1A4F39}" presName="vNodes" presStyleCnt="0"/>
      <dgm:spPr/>
    </dgm:pt>
    <dgm:pt modelId="{259F6FC9-F06A-4D6F-95DF-68C96246906F}" type="pres">
      <dgm:prSet presAssocID="{F12873BA-29DB-4D43-8833-8B3D71C0EBDB}" presName="node" presStyleLbl="node1" presStyleIdx="0" presStyleCnt="3" custScaleX="104511">
        <dgm:presLayoutVars>
          <dgm:bulletEnabled val="1"/>
        </dgm:presLayoutVars>
      </dgm:prSet>
      <dgm:spPr/>
    </dgm:pt>
    <dgm:pt modelId="{662D2AC7-BC68-414D-9875-653E7B804421}" type="pres">
      <dgm:prSet presAssocID="{B0187539-98DB-4196-961C-AC145A06E3F1}" presName="spacerT" presStyleCnt="0"/>
      <dgm:spPr/>
    </dgm:pt>
    <dgm:pt modelId="{84E62569-D9B3-42EE-812C-53742E25E77E}" type="pres">
      <dgm:prSet presAssocID="{B0187539-98DB-4196-961C-AC145A06E3F1}" presName="sibTrans" presStyleLbl="sibTrans2D1" presStyleIdx="0" presStyleCnt="2"/>
      <dgm:spPr/>
    </dgm:pt>
    <dgm:pt modelId="{B0DA144B-9FAC-4950-9812-2E49AC4C68EA}" type="pres">
      <dgm:prSet presAssocID="{B0187539-98DB-4196-961C-AC145A06E3F1}" presName="spacerB" presStyleCnt="0"/>
      <dgm:spPr/>
    </dgm:pt>
    <dgm:pt modelId="{C7455D48-1EFA-45F0-8612-2716DE0573DC}" type="pres">
      <dgm:prSet presAssocID="{192D41A0-F843-4143-91EB-C746CD73ECBB}" presName="node" presStyleLbl="node1" presStyleIdx="1" presStyleCnt="3" custScaleX="104555">
        <dgm:presLayoutVars>
          <dgm:bulletEnabled val="1"/>
        </dgm:presLayoutVars>
      </dgm:prSet>
      <dgm:spPr/>
    </dgm:pt>
    <dgm:pt modelId="{88BE5905-BAE8-45B3-9934-83EC1F09AB95}" type="pres">
      <dgm:prSet presAssocID="{8EE0880D-3B17-4CA1-B828-2F03BF1A4F39}" presName="sibTransLast" presStyleLbl="sibTrans2D1" presStyleIdx="1" presStyleCnt="2" custScaleX="145927" custScaleY="224504"/>
      <dgm:spPr/>
    </dgm:pt>
    <dgm:pt modelId="{8CA0AD12-699C-435E-AF2C-4C1F3468D18F}" type="pres">
      <dgm:prSet presAssocID="{8EE0880D-3B17-4CA1-B828-2F03BF1A4F39}" presName="connectorText" presStyleLbl="sibTrans2D1" presStyleIdx="1" presStyleCnt="2"/>
      <dgm:spPr/>
    </dgm:pt>
    <dgm:pt modelId="{8D1CE414-D2E6-4305-8824-EE631D08A069}" type="pres">
      <dgm:prSet presAssocID="{8EE0880D-3B17-4CA1-B828-2F03BF1A4F39}" presName="lastNode" presStyleLbl="node1" presStyleIdx="2" presStyleCnt="3" custScaleX="140806" custScaleY="133131" custLinFactX="9820" custLinFactNeighborX="100000" custLinFactNeighborY="1505">
        <dgm:presLayoutVars>
          <dgm:bulletEnabled val="1"/>
        </dgm:presLayoutVars>
      </dgm:prSet>
      <dgm:spPr/>
    </dgm:pt>
  </dgm:ptLst>
  <dgm:cxnLst>
    <dgm:cxn modelId="{7E33AE0A-E91B-43AC-A385-AC2D490CAAFA}" srcId="{8EE0880D-3B17-4CA1-B828-2F03BF1A4F39}" destId="{F12873BA-29DB-4D43-8833-8B3D71C0EBDB}" srcOrd="0" destOrd="0" parTransId="{27315370-0602-4CC8-ADD2-EF939A685108}" sibTransId="{B0187539-98DB-4196-961C-AC145A06E3F1}"/>
    <dgm:cxn modelId="{FD46751A-D147-4B2C-B043-B1085DFC99A8}" type="presOf" srcId="{8EE0880D-3B17-4CA1-B828-2F03BF1A4F39}" destId="{86A4FB50-67AE-449C-8A29-6A79FAC08A41}" srcOrd="0" destOrd="0" presId="urn:microsoft.com/office/officeart/2005/8/layout/equation2"/>
    <dgm:cxn modelId="{EB6A1926-8422-4873-ABF2-D8E8379DD90C}" type="presOf" srcId="{192D41A0-F843-4143-91EB-C746CD73ECBB}" destId="{C7455D48-1EFA-45F0-8612-2716DE0573DC}" srcOrd="0" destOrd="0" presId="urn:microsoft.com/office/officeart/2005/8/layout/equation2"/>
    <dgm:cxn modelId="{C715CD39-DE7D-4B45-BBFF-C0723CAD6725}" srcId="{8EE0880D-3B17-4CA1-B828-2F03BF1A4F39}" destId="{192D41A0-F843-4143-91EB-C746CD73ECBB}" srcOrd="1" destOrd="0" parTransId="{147AE64F-9279-484C-90C7-581C884F5D84}" sibTransId="{7F57F1EB-F928-44E0-9D5C-95FBD4F03829}"/>
    <dgm:cxn modelId="{03C78741-ACF7-44D7-98AB-24A89DA8B911}" type="presOf" srcId="{F12873BA-29DB-4D43-8833-8B3D71C0EBDB}" destId="{259F6FC9-F06A-4D6F-95DF-68C96246906F}" srcOrd="0" destOrd="0" presId="urn:microsoft.com/office/officeart/2005/8/layout/equation2"/>
    <dgm:cxn modelId="{851CD27A-9156-478B-9AC2-14239AD566FE}" type="presOf" srcId="{B0187539-98DB-4196-961C-AC145A06E3F1}" destId="{84E62569-D9B3-42EE-812C-53742E25E77E}" srcOrd="0" destOrd="0" presId="urn:microsoft.com/office/officeart/2005/8/layout/equation2"/>
    <dgm:cxn modelId="{61C9A993-5F4E-4A57-8837-D35ED3E84AB4}" type="presOf" srcId="{7F57F1EB-F928-44E0-9D5C-95FBD4F03829}" destId="{8CA0AD12-699C-435E-AF2C-4C1F3468D18F}" srcOrd="1" destOrd="0" presId="urn:microsoft.com/office/officeart/2005/8/layout/equation2"/>
    <dgm:cxn modelId="{5ACAF699-DB32-4646-BF0F-FEAEDE3129DE}" type="presOf" srcId="{1BD6A568-E591-4CFA-B4A8-00CC87781C6B}" destId="{8D1CE414-D2E6-4305-8824-EE631D08A069}" srcOrd="0" destOrd="0" presId="urn:microsoft.com/office/officeart/2005/8/layout/equation2"/>
    <dgm:cxn modelId="{02F149D4-7B7B-483C-8207-68F01DF5D099}" type="presOf" srcId="{7F57F1EB-F928-44E0-9D5C-95FBD4F03829}" destId="{88BE5905-BAE8-45B3-9934-83EC1F09AB95}" srcOrd="0" destOrd="0" presId="urn:microsoft.com/office/officeart/2005/8/layout/equation2"/>
    <dgm:cxn modelId="{908B23D6-5E31-4555-8936-A34452EE18F8}" srcId="{8EE0880D-3B17-4CA1-B828-2F03BF1A4F39}" destId="{1BD6A568-E591-4CFA-B4A8-00CC87781C6B}" srcOrd="2" destOrd="0" parTransId="{67E27AE4-B3F2-49B3-837D-A4F82489EAA8}" sibTransId="{255956C3-6C4B-47E4-8054-7680521C42B0}"/>
    <dgm:cxn modelId="{9361383D-89FC-42B4-BAC0-B46572060D52}" type="presParOf" srcId="{86A4FB50-67AE-449C-8A29-6A79FAC08A41}" destId="{88AF6435-9473-4F92-BC50-11B698CF448C}" srcOrd="0" destOrd="0" presId="urn:microsoft.com/office/officeart/2005/8/layout/equation2"/>
    <dgm:cxn modelId="{2D3BFDE8-F87D-4665-AECC-11F89992CFC4}" type="presParOf" srcId="{88AF6435-9473-4F92-BC50-11B698CF448C}" destId="{259F6FC9-F06A-4D6F-95DF-68C96246906F}" srcOrd="0" destOrd="0" presId="urn:microsoft.com/office/officeart/2005/8/layout/equation2"/>
    <dgm:cxn modelId="{8B6A29E0-45C6-4872-9543-F830C2CABF6B}" type="presParOf" srcId="{88AF6435-9473-4F92-BC50-11B698CF448C}" destId="{662D2AC7-BC68-414D-9875-653E7B804421}" srcOrd="1" destOrd="0" presId="urn:microsoft.com/office/officeart/2005/8/layout/equation2"/>
    <dgm:cxn modelId="{F4B21626-34FA-4533-AC9F-B38083A131BB}" type="presParOf" srcId="{88AF6435-9473-4F92-BC50-11B698CF448C}" destId="{84E62569-D9B3-42EE-812C-53742E25E77E}" srcOrd="2" destOrd="0" presId="urn:microsoft.com/office/officeart/2005/8/layout/equation2"/>
    <dgm:cxn modelId="{D46BF422-E0CE-43DA-A96F-C57918866432}" type="presParOf" srcId="{88AF6435-9473-4F92-BC50-11B698CF448C}" destId="{B0DA144B-9FAC-4950-9812-2E49AC4C68EA}" srcOrd="3" destOrd="0" presId="urn:microsoft.com/office/officeart/2005/8/layout/equation2"/>
    <dgm:cxn modelId="{280C88D1-9680-4C76-8A9D-9DDA99E994E9}" type="presParOf" srcId="{88AF6435-9473-4F92-BC50-11B698CF448C}" destId="{C7455D48-1EFA-45F0-8612-2716DE0573DC}" srcOrd="4" destOrd="0" presId="urn:microsoft.com/office/officeart/2005/8/layout/equation2"/>
    <dgm:cxn modelId="{C6FD55DB-DBAE-4BEE-8FB5-03D3A9195694}" type="presParOf" srcId="{86A4FB50-67AE-449C-8A29-6A79FAC08A41}" destId="{88BE5905-BAE8-45B3-9934-83EC1F09AB95}" srcOrd="1" destOrd="0" presId="urn:microsoft.com/office/officeart/2005/8/layout/equation2"/>
    <dgm:cxn modelId="{23DF6934-0D26-48BE-8D93-F2271D172C3C}" type="presParOf" srcId="{88BE5905-BAE8-45B3-9934-83EC1F09AB95}" destId="{8CA0AD12-699C-435E-AF2C-4C1F3468D18F}" srcOrd="0" destOrd="0" presId="urn:microsoft.com/office/officeart/2005/8/layout/equation2"/>
    <dgm:cxn modelId="{52584BE6-CA8D-40A2-95AE-0F1C85CA3FC1}" type="presParOf" srcId="{86A4FB50-67AE-449C-8A29-6A79FAC08A41}" destId="{8D1CE414-D2E6-4305-8824-EE631D08A069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968393-3FD6-4B57-A32B-73909637BD6D}">
      <dsp:nvSpPr>
        <dsp:cNvPr id="0" name=""/>
        <dsp:cNvSpPr/>
      </dsp:nvSpPr>
      <dsp:spPr>
        <a:xfrm>
          <a:off x="849142" y="213013"/>
          <a:ext cx="2123182" cy="1314632"/>
        </a:xfrm>
        <a:prstGeom prst="roundRect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23000" b="-2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5927D9-B8EA-4813-86EE-0331A473B7D3}">
      <dsp:nvSpPr>
        <dsp:cNvPr id="0" name=""/>
        <dsp:cNvSpPr/>
      </dsp:nvSpPr>
      <dsp:spPr>
        <a:xfrm>
          <a:off x="650067" y="1550008"/>
          <a:ext cx="2508189" cy="9305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History of Failed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Collections</a:t>
          </a:r>
          <a:endParaRPr lang="en-US" sz="1700" kern="1200" dirty="0"/>
        </a:p>
      </dsp:txBody>
      <dsp:txXfrm>
        <a:off x="650067" y="1550008"/>
        <a:ext cx="2508189" cy="930538"/>
      </dsp:txXfrm>
    </dsp:sp>
    <dsp:sp modelId="{9158B048-CB47-4034-B46E-A58DE156F970}">
      <dsp:nvSpPr>
        <dsp:cNvPr id="0" name=""/>
        <dsp:cNvSpPr/>
      </dsp:nvSpPr>
      <dsp:spPr>
        <a:xfrm>
          <a:off x="5771619" y="267437"/>
          <a:ext cx="2370439" cy="1410976"/>
        </a:xfrm>
        <a:prstGeom prst="roundRect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 t="-23000" b="-2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2D072E-9078-4A65-8040-9869B1EA904B}">
      <dsp:nvSpPr>
        <dsp:cNvPr id="0" name=""/>
        <dsp:cNvSpPr/>
      </dsp:nvSpPr>
      <dsp:spPr>
        <a:xfrm>
          <a:off x="5769186" y="1645810"/>
          <a:ext cx="2508189" cy="9305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Desire to Focus 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on Patient Care</a:t>
          </a:r>
          <a:endParaRPr lang="en-US" sz="1700" kern="1200" dirty="0"/>
        </a:p>
      </dsp:txBody>
      <dsp:txXfrm>
        <a:off x="5769186" y="1645810"/>
        <a:ext cx="2508189" cy="930538"/>
      </dsp:txXfrm>
    </dsp:sp>
    <dsp:sp modelId="{E6C90D0B-DEDA-41BD-845D-6D8D7A8AD7E8}">
      <dsp:nvSpPr>
        <dsp:cNvPr id="0" name=""/>
        <dsp:cNvSpPr/>
      </dsp:nvSpPr>
      <dsp:spPr>
        <a:xfrm>
          <a:off x="3589073" y="3002131"/>
          <a:ext cx="1684800" cy="1136288"/>
        </a:xfrm>
        <a:prstGeom prst="roundRect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 t="-23000" b="-2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E8E478-48D7-4685-8B9B-F64B30428692}">
      <dsp:nvSpPr>
        <dsp:cNvPr id="0" name=""/>
        <dsp:cNvSpPr/>
      </dsp:nvSpPr>
      <dsp:spPr>
        <a:xfrm>
          <a:off x="161532" y="4284400"/>
          <a:ext cx="2508189" cy="9305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Consolidate</a:t>
          </a:r>
          <a:r>
            <a:rPr lang="en-US" sz="1700" kern="1200" baseline="0" dirty="0"/>
            <a:t> Groups</a:t>
          </a:r>
        </a:p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dirty="0"/>
        </a:p>
      </dsp:txBody>
      <dsp:txXfrm>
        <a:off x="161532" y="4284400"/>
        <a:ext cx="2508189" cy="930538"/>
      </dsp:txXfrm>
    </dsp:sp>
    <dsp:sp modelId="{A304A194-7587-4B8B-B7FF-382AE87F6033}">
      <dsp:nvSpPr>
        <dsp:cNvPr id="0" name=""/>
        <dsp:cNvSpPr/>
      </dsp:nvSpPr>
      <dsp:spPr>
        <a:xfrm>
          <a:off x="6229797" y="2850507"/>
          <a:ext cx="2009536" cy="1287915"/>
        </a:xfrm>
        <a:prstGeom prst="roundRect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 t="-23000" b="-2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FC6CD8-1432-4543-97A0-967C1D1E322E}">
      <dsp:nvSpPr>
        <dsp:cNvPr id="0" name=""/>
        <dsp:cNvSpPr/>
      </dsp:nvSpPr>
      <dsp:spPr>
        <a:xfrm>
          <a:off x="650067" y="4373537"/>
          <a:ext cx="2508189" cy="9305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dirty="0"/>
        </a:p>
      </dsp:txBody>
      <dsp:txXfrm>
        <a:off x="650067" y="4373537"/>
        <a:ext cx="2508189" cy="930538"/>
      </dsp:txXfrm>
    </dsp:sp>
    <dsp:sp modelId="{8CEE5AC8-CE3A-4B3E-94BE-EEE2ACA86A07}">
      <dsp:nvSpPr>
        <dsp:cNvPr id="0" name=""/>
        <dsp:cNvSpPr/>
      </dsp:nvSpPr>
      <dsp:spPr>
        <a:xfrm>
          <a:off x="681751" y="2898744"/>
          <a:ext cx="1645271" cy="1316308"/>
        </a:xfrm>
        <a:prstGeom prst="roundRect">
          <a:avLst/>
        </a:prstGeom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t="-23000" b="-2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649E63-BB0D-4A64-AB35-367EF281B387}">
      <dsp:nvSpPr>
        <dsp:cNvPr id="0" name=""/>
        <dsp:cNvSpPr/>
      </dsp:nvSpPr>
      <dsp:spPr>
        <a:xfrm>
          <a:off x="3195658" y="4284399"/>
          <a:ext cx="2508189" cy="9305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Change Processes</a:t>
          </a:r>
        </a:p>
      </dsp:txBody>
      <dsp:txXfrm>
        <a:off x="3195658" y="4284399"/>
        <a:ext cx="2508189" cy="930538"/>
      </dsp:txXfrm>
    </dsp:sp>
    <dsp:sp modelId="{2C564692-B548-4795-A7A9-F2DDC3F63B7E}">
      <dsp:nvSpPr>
        <dsp:cNvPr id="0" name=""/>
        <dsp:cNvSpPr/>
      </dsp:nvSpPr>
      <dsp:spPr>
        <a:xfrm>
          <a:off x="3464642" y="54313"/>
          <a:ext cx="2508189" cy="1728142"/>
        </a:xfrm>
        <a:prstGeom prst="roundRect">
          <a:avLst/>
        </a:prstGeom>
        <a:solidFill>
          <a:schemeClr val="bg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6DE270-15D6-4FE2-A27D-56758C03ADD0}">
      <dsp:nvSpPr>
        <dsp:cNvPr id="0" name=""/>
        <dsp:cNvSpPr/>
      </dsp:nvSpPr>
      <dsp:spPr>
        <a:xfrm>
          <a:off x="6003832" y="4029100"/>
          <a:ext cx="2508189" cy="9305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904" tIns="120904" rIns="120904" bIns="0" numCol="1" spcCol="1270" anchor="t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>
              <a:solidFill>
                <a:srgbClr val="595959"/>
              </a:solidFill>
              <a:latin typeface="Poppins Medium" panose="02000000000000000000" pitchFamily="2" charset="0"/>
              <a:ea typeface="Montserrat" charset="0"/>
              <a:cs typeface="Poppins Medium" panose="02000000000000000000" pitchFamily="2" charset="0"/>
            </a:rPr>
            <a:t>Strengthen Relationships</a:t>
          </a:r>
          <a:endParaRPr lang="en-US" sz="1700" kern="1200" dirty="0"/>
        </a:p>
      </dsp:txBody>
      <dsp:txXfrm>
        <a:off x="6003832" y="4029100"/>
        <a:ext cx="2508189" cy="93053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B2DC2B-4D9F-45BB-AED0-929240B00C09}">
      <dsp:nvSpPr>
        <dsp:cNvPr id="0" name=""/>
        <dsp:cNvSpPr/>
      </dsp:nvSpPr>
      <dsp:spPr>
        <a:xfrm rot="10800000">
          <a:off x="2175690" y="1714"/>
          <a:ext cx="7702296" cy="942554"/>
        </a:xfrm>
        <a:prstGeom prst="homePlate">
          <a:avLst/>
        </a:prstGeom>
        <a:solidFill>
          <a:srgbClr val="00B5E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640" tIns="133350" rIns="24892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>
              <a:latin typeface="Poppins" panose="02000000000000000000" pitchFamily="2" charset="0"/>
              <a:cs typeface="Poppins" panose="02000000000000000000" pitchFamily="2" charset="0"/>
            </a:rPr>
            <a:t>Dignity</a:t>
          </a:r>
        </a:p>
      </dsp:txBody>
      <dsp:txXfrm rot="10800000">
        <a:off x="2411328" y="1714"/>
        <a:ext cx="7466658" cy="942554"/>
      </dsp:txXfrm>
    </dsp:sp>
    <dsp:sp modelId="{DAB608AA-B2CC-478F-B886-1B4D7B502208}">
      <dsp:nvSpPr>
        <dsp:cNvPr id="0" name=""/>
        <dsp:cNvSpPr/>
      </dsp:nvSpPr>
      <dsp:spPr>
        <a:xfrm>
          <a:off x="1704413" y="1714"/>
          <a:ext cx="942554" cy="942554"/>
        </a:xfrm>
        <a:prstGeom prst="ellipse">
          <a:avLst/>
        </a:prstGeom>
        <a:blipFill dpi="0"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B67EF4-C190-4D7B-AB38-63B1995C00A5}">
      <dsp:nvSpPr>
        <dsp:cNvPr id="0" name=""/>
        <dsp:cNvSpPr/>
      </dsp:nvSpPr>
      <dsp:spPr>
        <a:xfrm rot="10800000">
          <a:off x="2175690" y="1224497"/>
          <a:ext cx="7702296" cy="942554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640" tIns="133350" rIns="24892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>
              <a:latin typeface="Poppins" panose="02000000000000000000" pitchFamily="2" charset="0"/>
              <a:cs typeface="Poppins" panose="02000000000000000000" pitchFamily="2" charset="0"/>
            </a:rPr>
            <a:t>Convenience</a:t>
          </a:r>
        </a:p>
      </dsp:txBody>
      <dsp:txXfrm rot="10800000">
        <a:off x="2411328" y="1224497"/>
        <a:ext cx="7466658" cy="942554"/>
      </dsp:txXfrm>
    </dsp:sp>
    <dsp:sp modelId="{BBF54B97-42FD-4ECF-B96D-D5359A480A56}">
      <dsp:nvSpPr>
        <dsp:cNvPr id="0" name=""/>
        <dsp:cNvSpPr/>
      </dsp:nvSpPr>
      <dsp:spPr>
        <a:xfrm>
          <a:off x="1667832" y="1236694"/>
          <a:ext cx="942554" cy="942554"/>
        </a:xfrm>
        <a:prstGeom prst="ellipse">
          <a:avLst/>
        </a:prstGeom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12D39D-C648-444F-BA47-931B38B0EFE4}">
      <dsp:nvSpPr>
        <dsp:cNvPr id="0" name=""/>
        <dsp:cNvSpPr/>
      </dsp:nvSpPr>
      <dsp:spPr>
        <a:xfrm rot="10800000">
          <a:off x="2175690" y="2447280"/>
          <a:ext cx="7702296" cy="942554"/>
        </a:xfrm>
        <a:prstGeom prst="homePlate">
          <a:avLst/>
        </a:prstGeom>
        <a:solidFill>
          <a:srgbClr val="00B5E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640" tIns="133350" rIns="24892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>
              <a:latin typeface="Poppins" panose="02000000000000000000" pitchFamily="2" charset="0"/>
              <a:cs typeface="Poppins" panose="02000000000000000000" pitchFamily="2" charset="0"/>
            </a:rPr>
            <a:t>Equal Access to Credit</a:t>
          </a:r>
        </a:p>
      </dsp:txBody>
      <dsp:txXfrm rot="10800000">
        <a:off x="2411328" y="2447280"/>
        <a:ext cx="7466658" cy="942554"/>
      </dsp:txXfrm>
    </dsp:sp>
    <dsp:sp modelId="{A01E647D-282B-4E9F-8197-B4AA6D954E5B}">
      <dsp:nvSpPr>
        <dsp:cNvPr id="0" name=""/>
        <dsp:cNvSpPr/>
      </dsp:nvSpPr>
      <dsp:spPr>
        <a:xfrm>
          <a:off x="1704413" y="2447280"/>
          <a:ext cx="942554" cy="942554"/>
        </a:xfrm>
        <a:prstGeom prst="ellipse">
          <a:avLst/>
        </a:prstGeom>
        <a:blipFill dpi="0"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823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1A5658-6FD3-48EC-8029-EF30DDD87FBF}">
      <dsp:nvSpPr>
        <dsp:cNvPr id="0" name=""/>
        <dsp:cNvSpPr/>
      </dsp:nvSpPr>
      <dsp:spPr>
        <a:xfrm rot="10800000">
          <a:off x="2175690" y="3670063"/>
          <a:ext cx="7702296" cy="942554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5640" tIns="133350" rIns="24892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>
              <a:latin typeface="Poppins" panose="02000000000000000000" pitchFamily="2" charset="0"/>
              <a:cs typeface="Poppins" panose="02000000000000000000" pitchFamily="2" charset="0"/>
            </a:rPr>
            <a:t>Affordability</a:t>
          </a:r>
        </a:p>
      </dsp:txBody>
      <dsp:txXfrm rot="10800000">
        <a:off x="2411328" y="3670063"/>
        <a:ext cx="7466658" cy="942554"/>
      </dsp:txXfrm>
    </dsp:sp>
    <dsp:sp modelId="{6A7B460E-F1BE-4536-AA3C-6D6225BD3579}">
      <dsp:nvSpPr>
        <dsp:cNvPr id="0" name=""/>
        <dsp:cNvSpPr/>
      </dsp:nvSpPr>
      <dsp:spPr>
        <a:xfrm>
          <a:off x="1704413" y="3670063"/>
          <a:ext cx="942554" cy="942554"/>
        </a:xfrm>
        <a:prstGeom prst="ellipse">
          <a:avLst/>
        </a:prstGeom>
        <a:blipFill dpi="0" rotWithShape="1"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b="4149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8F4263-657B-49B5-AC03-C78C5BA97072}">
      <dsp:nvSpPr>
        <dsp:cNvPr id="0" name=""/>
        <dsp:cNvSpPr/>
      </dsp:nvSpPr>
      <dsp:spPr>
        <a:xfrm rot="16200000">
          <a:off x="514111" y="-514111"/>
          <a:ext cx="1928094" cy="2956316"/>
        </a:xfrm>
        <a:prstGeom prst="round1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Poppins" panose="02000000000000000000" pitchFamily="2" charset="0"/>
              <a:cs typeface="Poppins" panose="02000000000000000000" pitchFamily="2" charset="0"/>
            </a:rPr>
            <a:t>Eliminate, reduce cost of collections</a:t>
          </a:r>
        </a:p>
      </dsp:txBody>
      <dsp:txXfrm rot="5400000">
        <a:off x="-1" y="1"/>
        <a:ext cx="2956316" cy="1446070"/>
      </dsp:txXfrm>
    </dsp:sp>
    <dsp:sp modelId="{DDF83D6F-5430-4492-95E3-B1F7257368A3}">
      <dsp:nvSpPr>
        <dsp:cNvPr id="0" name=""/>
        <dsp:cNvSpPr/>
      </dsp:nvSpPr>
      <dsp:spPr>
        <a:xfrm>
          <a:off x="2956316" y="0"/>
          <a:ext cx="2956316" cy="1928094"/>
        </a:xfrm>
        <a:prstGeom prst="round1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Poppins" panose="02000000000000000000" pitchFamily="2" charset="0"/>
              <a:cs typeface="Poppins" panose="02000000000000000000" pitchFamily="2" charset="0"/>
            </a:rPr>
            <a:t>Cut quantity of monthly statements</a:t>
          </a:r>
        </a:p>
      </dsp:txBody>
      <dsp:txXfrm>
        <a:off x="2956316" y="0"/>
        <a:ext cx="2956316" cy="1446070"/>
      </dsp:txXfrm>
    </dsp:sp>
    <dsp:sp modelId="{CA6E4C5A-6FA8-42E9-AA6C-A7E7D23BFAEA}">
      <dsp:nvSpPr>
        <dsp:cNvPr id="0" name=""/>
        <dsp:cNvSpPr/>
      </dsp:nvSpPr>
      <dsp:spPr>
        <a:xfrm rot="10800000">
          <a:off x="0" y="1928094"/>
          <a:ext cx="2956316" cy="1928094"/>
        </a:xfrm>
        <a:prstGeom prst="round1Rect">
          <a:avLst/>
        </a:prstGeom>
        <a:solidFill>
          <a:srgbClr val="FBBC3F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1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Poppins" panose="02000000000000000000" pitchFamily="2" charset="0"/>
              <a:cs typeface="Poppins" panose="02000000000000000000" pitchFamily="2" charset="0"/>
            </a:rPr>
            <a:t>Reduce time tracking in system</a:t>
          </a:r>
        </a:p>
      </dsp:txBody>
      <dsp:txXfrm rot="10800000">
        <a:off x="0" y="2410117"/>
        <a:ext cx="2956316" cy="1446070"/>
      </dsp:txXfrm>
    </dsp:sp>
    <dsp:sp modelId="{0D57A478-16EF-4657-AED5-EF3BC15588DC}">
      <dsp:nvSpPr>
        <dsp:cNvPr id="0" name=""/>
        <dsp:cNvSpPr/>
      </dsp:nvSpPr>
      <dsp:spPr>
        <a:xfrm rot="5400000">
          <a:off x="3470427" y="1413982"/>
          <a:ext cx="1928094" cy="2956316"/>
        </a:xfrm>
        <a:prstGeom prst="round1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Poppins" panose="02000000000000000000" pitchFamily="2" charset="0"/>
              <a:cs typeface="Poppins" panose="02000000000000000000" pitchFamily="2" charset="0"/>
            </a:rPr>
            <a:t>Time value of money – collect cash up front!</a:t>
          </a:r>
        </a:p>
      </dsp:txBody>
      <dsp:txXfrm rot="-5400000">
        <a:off x="2956315" y="2410117"/>
        <a:ext cx="2956316" cy="1446070"/>
      </dsp:txXfrm>
    </dsp:sp>
    <dsp:sp modelId="{3E50EEED-A4ED-4FD6-8A37-204CD5E9FF39}">
      <dsp:nvSpPr>
        <dsp:cNvPr id="0" name=""/>
        <dsp:cNvSpPr/>
      </dsp:nvSpPr>
      <dsp:spPr>
        <a:xfrm>
          <a:off x="1773792" y="1463134"/>
          <a:ext cx="2365046" cy="964047"/>
        </a:xfrm>
        <a:prstGeom prst="roundRect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8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2400" b="0" kern="1200" dirty="0">
              <a:latin typeface="Poppins SemiBold" panose="02000000000000000000" pitchFamily="2" charset="0"/>
              <a:cs typeface="Poppins SemiBold" panose="02000000000000000000" pitchFamily="2" charset="0"/>
            </a:rPr>
            <a:t>Reduce Expense</a:t>
          </a:r>
        </a:p>
      </dsp:txBody>
      <dsp:txXfrm>
        <a:off x="1820853" y="1510195"/>
        <a:ext cx="2270924" cy="86992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9F6FC9-F06A-4D6F-95DF-68C96246906F}">
      <dsp:nvSpPr>
        <dsp:cNvPr id="0" name=""/>
        <dsp:cNvSpPr/>
      </dsp:nvSpPr>
      <dsp:spPr>
        <a:xfrm>
          <a:off x="1508177" y="1402"/>
          <a:ext cx="1609337" cy="1539874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>
              <a:latin typeface="Poppins" panose="02000000000000000000" pitchFamily="2" charset="0"/>
              <a:cs typeface="Poppins" panose="02000000000000000000" pitchFamily="2" charset="0"/>
            </a:rPr>
            <a:t>to get the team to buy in.</a:t>
          </a:r>
        </a:p>
      </dsp:txBody>
      <dsp:txXfrm>
        <a:off x="1743859" y="226911"/>
        <a:ext cx="1137973" cy="1088856"/>
      </dsp:txXfrm>
    </dsp:sp>
    <dsp:sp modelId="{84E62569-D9B3-42EE-812C-53742E25E77E}">
      <dsp:nvSpPr>
        <dsp:cNvPr id="0" name=""/>
        <dsp:cNvSpPr/>
      </dsp:nvSpPr>
      <dsp:spPr>
        <a:xfrm>
          <a:off x="1866283" y="1666314"/>
          <a:ext cx="893127" cy="893127"/>
        </a:xfrm>
        <a:prstGeom prst="mathPlus">
          <a:avLst/>
        </a:prstGeom>
        <a:solidFill>
          <a:srgbClr val="FBBC3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b="1" kern="1200" dirty="0">
            <a:latin typeface="Poppins" panose="02000000000000000000" pitchFamily="2" charset="0"/>
            <a:cs typeface="Poppins" panose="02000000000000000000" pitchFamily="2" charset="0"/>
          </a:endParaRPr>
        </a:p>
      </dsp:txBody>
      <dsp:txXfrm>
        <a:off x="1984667" y="2007846"/>
        <a:ext cx="656359" cy="210063"/>
      </dsp:txXfrm>
    </dsp:sp>
    <dsp:sp modelId="{C7455D48-1EFA-45F0-8612-2716DE0573DC}">
      <dsp:nvSpPr>
        <dsp:cNvPr id="0" name=""/>
        <dsp:cNvSpPr/>
      </dsp:nvSpPr>
      <dsp:spPr>
        <a:xfrm>
          <a:off x="1507839" y="2684479"/>
          <a:ext cx="1610015" cy="1539874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>
              <a:latin typeface="Poppins" panose="02000000000000000000" pitchFamily="2" charset="0"/>
              <a:cs typeface="Poppins" panose="02000000000000000000" pitchFamily="2" charset="0"/>
            </a:rPr>
            <a:t>to automate enrollment</a:t>
          </a:r>
        </a:p>
      </dsp:txBody>
      <dsp:txXfrm>
        <a:off x="1743620" y="2909988"/>
        <a:ext cx="1138453" cy="1088856"/>
      </dsp:txXfrm>
    </dsp:sp>
    <dsp:sp modelId="{88BE5905-BAE8-45B3-9934-83EC1F09AB95}">
      <dsp:nvSpPr>
        <dsp:cNvPr id="0" name=""/>
        <dsp:cNvSpPr/>
      </dsp:nvSpPr>
      <dsp:spPr>
        <a:xfrm rot="32970">
          <a:off x="3356397" y="1486767"/>
          <a:ext cx="1438312" cy="1286033"/>
        </a:xfrm>
        <a:prstGeom prst="rightArrow">
          <a:avLst>
            <a:gd name="adj1" fmla="val 60000"/>
            <a:gd name="adj2" fmla="val 50000"/>
          </a:avLst>
        </a:prstGeom>
        <a:solidFill>
          <a:srgbClr val="FBBC3F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0" b="1" kern="1200" dirty="0">
            <a:solidFill>
              <a:srgbClr val="006782"/>
            </a:solidFill>
            <a:latin typeface="Poppins" panose="02000000000000000000" pitchFamily="2" charset="0"/>
            <a:cs typeface="Poppins" panose="02000000000000000000" pitchFamily="2" charset="0"/>
          </a:endParaRPr>
        </a:p>
      </dsp:txBody>
      <dsp:txXfrm>
        <a:off x="3356406" y="1742124"/>
        <a:ext cx="1052502" cy="771619"/>
      </dsp:txXfrm>
    </dsp:sp>
    <dsp:sp modelId="{8D1CE414-D2E6-4305-8824-EE631D08A069}">
      <dsp:nvSpPr>
        <dsp:cNvPr id="0" name=""/>
        <dsp:cNvSpPr/>
      </dsp:nvSpPr>
      <dsp:spPr>
        <a:xfrm>
          <a:off x="4977352" y="109178"/>
          <a:ext cx="4336470" cy="4100099"/>
        </a:xfrm>
        <a:prstGeom prst="ellipse">
          <a:avLst/>
        </a:prstGeom>
        <a:solidFill>
          <a:schemeClr val="accent2">
            <a:hueOff val="1835217"/>
            <a:satOff val="0"/>
            <a:lumOff val="24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lr>
              <a:srgbClr val="404146"/>
            </a:buClr>
            <a:buNone/>
          </a:pPr>
          <a:r>
            <a:rPr lang="en-US" sz="1600" b="1" u="sng" kern="1200" dirty="0">
              <a:latin typeface="Poppins" panose="02000000000000000000" pitchFamily="2" charset="0"/>
              <a:cs typeface="Poppins" panose="02000000000000000000" pitchFamily="2" charset="0"/>
            </a:rPr>
            <a:t>Dedicate training </a:t>
          </a: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rgbClr val="404146"/>
            </a:buClr>
            <a:buNone/>
          </a:pPr>
          <a:r>
            <a:rPr lang="en-US" sz="1600" b="0" kern="1200" dirty="0">
              <a:latin typeface="Poppins" panose="02000000000000000000" pitchFamily="2" charset="0"/>
              <a:cs typeface="Poppins" panose="02000000000000000000" pitchFamily="2" charset="0"/>
            </a:rPr>
            <a:t>to the team on the value of payment options to patient financial experience and ease of enrollment through automation.</a:t>
          </a: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600"/>
            </a:spcAft>
            <a:buClr>
              <a:srgbClr val="404146"/>
            </a:buClr>
            <a:buNone/>
          </a:pPr>
          <a:r>
            <a:rPr lang="en-US" sz="1600" b="0" kern="1200" dirty="0">
              <a:latin typeface="Poppins" panose="02000000000000000000" pitchFamily="2" charset="0"/>
              <a:cs typeface="Poppins" panose="02000000000000000000" pitchFamily="2" charset="0"/>
            </a:rPr>
            <a:t> </a:t>
          </a:r>
        </a:p>
      </dsp:txBody>
      <dsp:txXfrm>
        <a:off x="5612413" y="709624"/>
        <a:ext cx="3066348" cy="28992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1738"/>
          </a:xfrm>
          <a:prstGeom prst="rect">
            <a:avLst/>
          </a:prstGeom>
        </p:spPr>
        <p:txBody>
          <a:bodyPr vert="horz" lIns="92753" tIns="46377" rIns="92753" bIns="46377" rtlCol="0"/>
          <a:lstStyle>
            <a:lvl1pPr algn="l">
              <a:defRPr sz="1200"/>
            </a:lvl1pPr>
          </a:lstStyle>
          <a:p>
            <a:endParaRPr lang="en-US" dirty="0">
              <a:latin typeface="Cera PRO" panose="00000500000000000000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809" y="0"/>
            <a:ext cx="4028440" cy="351738"/>
          </a:xfrm>
          <a:prstGeom prst="rect">
            <a:avLst/>
          </a:prstGeom>
        </p:spPr>
        <p:txBody>
          <a:bodyPr vert="horz" lIns="92753" tIns="46377" rIns="92753" bIns="46377" rtlCol="0"/>
          <a:lstStyle>
            <a:lvl1pPr algn="r">
              <a:defRPr sz="1200"/>
            </a:lvl1pPr>
          </a:lstStyle>
          <a:p>
            <a:fld id="{79D51CB4-85AC-49A0-8B4E-9E6CC0C7552D}" type="datetimeFigureOut">
              <a:rPr lang="en-US" smtClean="0">
                <a:latin typeface="Cera PRO" panose="00000500000000000000" pitchFamily="50" charset="0"/>
              </a:rPr>
              <a:t>3/8/2022</a:t>
            </a:fld>
            <a:endParaRPr lang="en-US" dirty="0">
              <a:latin typeface="Cera PRO" panose="00000500000000000000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58666"/>
            <a:ext cx="4028440" cy="351737"/>
          </a:xfrm>
          <a:prstGeom prst="rect">
            <a:avLst/>
          </a:prstGeom>
        </p:spPr>
        <p:txBody>
          <a:bodyPr vert="horz" lIns="92753" tIns="46377" rIns="92753" bIns="46377" rtlCol="0" anchor="b"/>
          <a:lstStyle>
            <a:lvl1pPr algn="l">
              <a:defRPr sz="1200"/>
            </a:lvl1pPr>
          </a:lstStyle>
          <a:p>
            <a:endParaRPr lang="en-US" dirty="0">
              <a:latin typeface="Cera PRO" panose="00000500000000000000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809" y="6658666"/>
            <a:ext cx="4028440" cy="351737"/>
          </a:xfrm>
          <a:prstGeom prst="rect">
            <a:avLst/>
          </a:prstGeom>
        </p:spPr>
        <p:txBody>
          <a:bodyPr vert="horz" lIns="92753" tIns="46377" rIns="92753" bIns="46377" rtlCol="0" anchor="b"/>
          <a:lstStyle>
            <a:lvl1pPr algn="r">
              <a:defRPr sz="1200"/>
            </a:lvl1pPr>
          </a:lstStyle>
          <a:p>
            <a:fld id="{6CA5BE38-E025-4EE3-9E1B-2191A3F4EC65}" type="slidenum">
              <a:rPr lang="en-US" smtClean="0">
                <a:latin typeface="Cera PRO" panose="00000500000000000000" pitchFamily="50" charset="0"/>
              </a:rPr>
              <a:t>‹#›</a:t>
            </a:fld>
            <a:endParaRPr lang="en-US" dirty="0">
              <a:latin typeface="Cera PRO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047121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1738"/>
          </a:xfrm>
          <a:prstGeom prst="rect">
            <a:avLst/>
          </a:prstGeom>
        </p:spPr>
        <p:txBody>
          <a:bodyPr vert="horz" lIns="92753" tIns="46377" rIns="92753" bIns="46377" rtlCol="0"/>
          <a:lstStyle>
            <a:lvl1pPr algn="l">
              <a:defRPr sz="1200">
                <a:latin typeface="Cera PRO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1738"/>
          </a:xfrm>
          <a:prstGeom prst="rect">
            <a:avLst/>
          </a:prstGeom>
        </p:spPr>
        <p:txBody>
          <a:bodyPr vert="horz" lIns="92753" tIns="46377" rIns="92753" bIns="46377" rtlCol="0"/>
          <a:lstStyle>
            <a:lvl1pPr algn="r">
              <a:defRPr sz="1200">
                <a:latin typeface="Cera PRO" panose="00000500000000000000" pitchFamily="50" charset="0"/>
              </a:defRPr>
            </a:lvl1pPr>
          </a:lstStyle>
          <a:p>
            <a:fld id="{A7E6F383-8335-4429-96FA-78644C54B193}" type="datetimeFigureOut">
              <a:rPr lang="en-US" smtClean="0"/>
              <a:pPr/>
              <a:t>3/8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6350" y="876300"/>
            <a:ext cx="4203700" cy="2365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53" tIns="46377" rIns="92753" bIns="4637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1" y="3373755"/>
            <a:ext cx="7437120" cy="2760346"/>
          </a:xfrm>
          <a:prstGeom prst="rect">
            <a:avLst/>
          </a:prstGeom>
        </p:spPr>
        <p:txBody>
          <a:bodyPr vert="horz" lIns="92753" tIns="46377" rIns="92753" bIns="4637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658666"/>
            <a:ext cx="4028440" cy="351737"/>
          </a:xfrm>
          <a:prstGeom prst="rect">
            <a:avLst/>
          </a:prstGeom>
        </p:spPr>
        <p:txBody>
          <a:bodyPr vert="horz" lIns="92753" tIns="46377" rIns="92753" bIns="46377" rtlCol="0" anchor="b"/>
          <a:lstStyle>
            <a:lvl1pPr algn="l">
              <a:defRPr sz="1200">
                <a:latin typeface="Cera PRO" panose="00000500000000000000" pitchFamily="50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6658666"/>
            <a:ext cx="4028440" cy="351737"/>
          </a:xfrm>
          <a:prstGeom prst="rect">
            <a:avLst/>
          </a:prstGeom>
        </p:spPr>
        <p:txBody>
          <a:bodyPr vert="horz" lIns="92753" tIns="46377" rIns="92753" bIns="46377" rtlCol="0" anchor="b"/>
          <a:lstStyle>
            <a:lvl1pPr algn="r">
              <a:defRPr sz="1200">
                <a:latin typeface="Cera PRO" panose="00000500000000000000" pitchFamily="50" charset="0"/>
              </a:defRPr>
            </a:lvl1pPr>
          </a:lstStyle>
          <a:p>
            <a:fld id="{AF314F4A-9741-4034-BF7C-D7993B4278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77875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era PRO" panose="00000500000000000000" pitchFamily="50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era PRO" panose="00000500000000000000" pitchFamily="50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era PRO" panose="00000500000000000000" pitchFamily="50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era PRO" panose="00000500000000000000" pitchFamily="50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era PRO" panose="00000500000000000000" pitchFamily="50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8658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3951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0417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2136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001E7-F343-4383-BB58-0607AFECC6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44637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0001E7-F343-4383-BB58-0607AFECC6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54586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314F4A-9741-4034-BF7C-D7993B427808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6611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6BE02D-20C0-F840-AFAC-BEA99C74FD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2082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001E7-F343-4383-BB58-0607AFECC67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8983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F314F4A-9741-4034-BF7C-D7993B427808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2605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001E7-F343-4383-BB58-0607AFECC67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882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6BE02D-20C0-F840-AFAC-BEA99C74FD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905857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b="1" dirty="0">
              <a:latin typeface="Poppins" panose="02000000000000000000" pitchFamily="2" charset="0"/>
            </a:endParaRPr>
          </a:p>
          <a:p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001E7-F343-4383-BB58-0607AFECC67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962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latin typeface="Poppins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001E7-F343-4383-BB58-0607AFECC67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50335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68ED77-B736-43BF-AB34-F917D760FE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00739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Poppins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001E7-F343-4383-BB58-0607AFECC67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3103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53233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93631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81314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>
              <a:latin typeface="Poppins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001E7-F343-4383-BB58-0607AFECC678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14330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314F4A-9741-4034-BF7C-D7993B4278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PRO" panose="000005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PRO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207174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latin typeface="Poppins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001E7-F343-4383-BB58-0607AFECC678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813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01667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F7AB9A-7421-8B48-9209-69D15362C7CB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52099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03555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20086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07340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08" indent="-174708" defTabSz="931774">
              <a:buFont typeface="Arial" panose="020B0604020202020204" pitchFamily="34" charset="0"/>
              <a:buChar char="•"/>
              <a:defRPr/>
            </a:pPr>
            <a:endParaRPr lang="en-US" dirty="0">
              <a:latin typeface="Poppins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314F4A-9741-4034-BF7C-D7993B42780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ra PRO" panose="00000500000000000000" pitchFamily="50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ra PRO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591278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37637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942042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endParaRPr lang="en-US" sz="1800" dirty="0">
              <a:latin typeface="Poppins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001E7-F343-4383-BB58-0607AFECC678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43393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237557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842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34EF43D7-628F-471F-BAA2-58173AC80C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>
              <a:latin typeface="Poppins Light" panose="02000000000000000000" pitchFamily="2" charset="0"/>
              <a:cs typeface="Poppins Light" panose="02000000000000000000" pitchFamily="2" charset="0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536446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05511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60777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>
              <a:latin typeface="Poppins" panose="020000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0001E7-F343-4383-BB58-0607AFECC678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61861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290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0585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6799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95809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6452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339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9.png"/><Relationship Id="rId4" Type="http://schemas.openxmlformats.org/officeDocument/2006/relationships/image" Target="../media/image58.sv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9.png"/><Relationship Id="rId4" Type="http://schemas.openxmlformats.org/officeDocument/2006/relationships/image" Target="../media/image58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9.png"/><Relationship Id="rId4" Type="http://schemas.openxmlformats.org/officeDocument/2006/relationships/image" Target="../media/image58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77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8.png"/><Relationship Id="rId4" Type="http://schemas.openxmlformats.org/officeDocument/2006/relationships/image" Target="../media/image58.sv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1.emf"/><Relationship Id="rId4" Type="http://schemas.openxmlformats.org/officeDocument/2006/relationships/oleObject" Target="../embeddings/oleObject1.bin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Relationship Id="rId9" Type="http://schemas.openxmlformats.org/officeDocument/2006/relationships/image" Target="../media/image25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323" y="457200"/>
            <a:ext cx="6172200" cy="22860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rgbClr val="78BE43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23" y="2931459"/>
            <a:ext cx="6172200" cy="1752600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5013D4-D06D-43A4-BDC8-658ACCCA7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677406-D7E0-4DA2-AC81-AADCE80034A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Cera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42AACA-069A-4760-948D-E883597669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700" y="784565"/>
            <a:ext cx="4628408" cy="347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394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84273"/>
            <a:ext cx="10987312" cy="5506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708150"/>
            <a:ext cx="10987315" cy="406241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454179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hoto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0555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323" y="457200"/>
            <a:ext cx="6172200" cy="22860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rgbClr val="78BE43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23" y="2931459"/>
            <a:ext cx="6172200" cy="1752600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5013D4-D06D-43A4-BDC8-658ACCCA7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0156AF-31ED-4A8D-9873-E604208E5C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800" y="381000"/>
            <a:ext cx="4419600" cy="632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8971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ircl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BAE83C-7F47-4150-A6F1-82D79F6DB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" y="1"/>
            <a:ext cx="12189480" cy="68522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C95878B-0444-4AAA-9433-93668CF9C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225" y="2870208"/>
            <a:ext cx="8498475" cy="704461"/>
          </a:xfrm>
        </p:spPr>
        <p:txBody>
          <a:bodyPr anchor="b"/>
          <a:lstStyle>
            <a:lvl1pPr>
              <a:defRPr sz="4800">
                <a:solidFill>
                  <a:srgbClr val="77BC1F"/>
                </a:solidFill>
              </a:defRPr>
            </a:lvl1pPr>
          </a:lstStyle>
          <a:p>
            <a:r>
              <a:rPr lang="en-US"/>
              <a:t>Insert Section Head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B8E7228-6A5C-4866-A7BF-FC0EC12AEFA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1225" y="3639228"/>
            <a:ext cx="8498475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rgbClr val="53555C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nter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406442415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8578" y="6430733"/>
            <a:ext cx="603422" cy="365125"/>
          </a:xfrm>
          <a:prstGeom prst="rect">
            <a:avLst/>
          </a:prstGeom>
        </p:spPr>
        <p:txBody>
          <a:bodyPr/>
          <a:lstStyle>
            <a:lvl1pPr algn="ctr">
              <a:defRPr sz="1200" b="1" baseline="0">
                <a:solidFill>
                  <a:srgbClr val="002E6D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AA8EF202-8E53-C04D-845E-813DA578684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45988" y="1788554"/>
            <a:ext cx="11516497" cy="4351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Font typeface="Courier New" charset="0"/>
              <a:buNone/>
              <a:defRPr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lnSpc>
                <a:spcPct val="150000"/>
              </a:lnSpc>
              <a:buFont typeface="Courier New" charset="0"/>
              <a:buChar char="o"/>
              <a:defRPr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lnSpc>
                <a:spcPct val="150000"/>
              </a:lnSpc>
              <a:buFont typeface="Courier New" charset="0"/>
              <a:buChar char="o"/>
              <a:defRPr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lnSpc>
                <a:spcPct val="150000"/>
              </a:lnSpc>
              <a:buFont typeface="Courier New" charset="0"/>
              <a:buChar char="o"/>
              <a:defRPr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lnSpc>
                <a:spcPct val="150000"/>
              </a:lnSpc>
              <a:buFont typeface="Courier New" charset="0"/>
              <a:buChar char="o"/>
              <a:defRPr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45988" y="308008"/>
            <a:ext cx="11516497" cy="13258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aseline="0">
                <a:solidFill>
                  <a:srgbClr val="002E6D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988" y="6417906"/>
            <a:ext cx="2206752" cy="37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4561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13506E-83DE-4C7B-9307-92B0AAFBCD49}"/>
              </a:ext>
            </a:extLst>
          </p:cNvPr>
          <p:cNvSpPr/>
          <p:nvPr userDrawn="1"/>
        </p:nvSpPr>
        <p:spPr>
          <a:xfrm>
            <a:off x="540327" y="997527"/>
            <a:ext cx="11089178" cy="157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09281" y="615142"/>
            <a:ext cx="11463617" cy="604058"/>
          </a:xfrm>
        </p:spPr>
        <p:txBody>
          <a:bodyPr anchor="t">
            <a:normAutofit/>
          </a:bodyPr>
          <a:lstStyle>
            <a:lvl1pPr algn="l" fontAlgn="b">
              <a:defRPr sz="3600" b="0" i="0" baseline="0">
                <a:solidFill>
                  <a:schemeClr val="bg2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2580" y="1573372"/>
            <a:ext cx="11450319" cy="769778"/>
          </a:xfrm>
        </p:spPr>
        <p:txBody>
          <a:bodyPr/>
          <a:lstStyle>
            <a:lvl1pPr marL="0" indent="0" algn="l">
              <a:lnSpc>
                <a:spcPct val="140000"/>
              </a:lnSpc>
              <a:buNone/>
              <a:defRPr sz="2400" b="0" baseline="0">
                <a:solidFill>
                  <a:schemeClr val="tx2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2263" y="2667000"/>
            <a:ext cx="11450635" cy="3390900"/>
          </a:xfrm>
        </p:spPr>
        <p:txBody>
          <a:bodyPr/>
          <a:lstStyle>
            <a:lvl1pPr marL="0" indent="0">
              <a:buNone/>
              <a:defRPr sz="2400" b="0" baseline="0">
                <a:solidFill>
                  <a:srgbClr val="69767D"/>
                </a:solidFill>
                <a:latin typeface="Poppins" panose="02000000000000000000" pitchFamily="2" charset="0"/>
                <a:ea typeface="Poppins" panose="02000000000000000000" pitchFamily="2" charset="0"/>
                <a:cs typeface="Poppins" panose="02000000000000000000" pitchFamily="2" charset="0"/>
              </a:defRPr>
            </a:lvl1pPr>
            <a:lvl2pPr marL="457200" indent="0">
              <a:buNone/>
              <a:defRPr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137527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45987" y="1791730"/>
            <a:ext cx="11516497" cy="422299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45988" y="308008"/>
            <a:ext cx="11516497" cy="132587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aseline="0">
                <a:solidFill>
                  <a:srgbClr val="002E6D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8578" y="6430733"/>
            <a:ext cx="603422" cy="365125"/>
          </a:xfrm>
          <a:prstGeom prst="rect">
            <a:avLst/>
          </a:prstGeom>
        </p:spPr>
        <p:txBody>
          <a:bodyPr/>
          <a:lstStyle>
            <a:lvl1pPr algn="ctr">
              <a:defRPr sz="1200" b="1" baseline="0">
                <a:solidFill>
                  <a:srgbClr val="002E6D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AA8EF202-8E53-C04D-845E-813DA578684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988" y="6417906"/>
            <a:ext cx="2206752" cy="377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30949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2657" y="6340959"/>
            <a:ext cx="635155" cy="307836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09281" y="389965"/>
            <a:ext cx="11463617" cy="829235"/>
          </a:xfrm>
        </p:spPr>
        <p:txBody>
          <a:bodyPr anchor="t">
            <a:normAutofit/>
          </a:bodyPr>
          <a:lstStyle>
            <a:lvl1pPr algn="l" fontAlgn="b">
              <a:defRPr sz="3600" b="1" i="0" baseline="0">
                <a:solidFill>
                  <a:srgbClr val="444545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309282" y="1602299"/>
            <a:ext cx="11463616" cy="4597975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rgbClr val="69767D"/>
                </a:solidFill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4083" y="6458267"/>
            <a:ext cx="4152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988A49C-778B-EF45-9D5D-8EAA2E36A3FB}" type="slidenum">
              <a:rPr lang="en-US" sz="1200" b="1" i="0" baseline="0" smtClean="0">
                <a:solidFill>
                  <a:srgbClr val="444545"/>
                </a:solidFill>
                <a:latin typeface="Arial" panose="020B0604020202020204" pitchFamily="34" charset="0"/>
              </a:rPr>
              <a:t>‹#›</a:t>
            </a:fld>
            <a:endParaRPr lang="en-US" sz="1200" b="1" i="0" baseline="0" dirty="0">
              <a:solidFill>
                <a:srgbClr val="444545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731520" y="6463486"/>
            <a:ext cx="94616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aseline="0" dirty="0">
                <a:solidFill>
                  <a:srgbClr val="444545"/>
                </a:solidFill>
                <a:latin typeface="Arial" panose="020B0604020202020204" pitchFamily="34" charset="0"/>
              </a:rPr>
              <a:t>Healthcare Financial Management Association | </a:t>
            </a:r>
            <a:r>
              <a:rPr lang="en-US" sz="1000" b="1" baseline="0" dirty="0">
                <a:solidFill>
                  <a:srgbClr val="119CD9"/>
                </a:solidFill>
                <a:latin typeface="Arial" panose="020B0604020202020204" pitchFamily="34" charset="0"/>
              </a:rPr>
              <a:t>hfma.org</a:t>
            </a:r>
          </a:p>
        </p:txBody>
      </p:sp>
    </p:spTree>
    <p:extLst>
      <p:ext uri="{BB962C8B-B14F-4D97-AF65-F5344CB8AC3E}">
        <p14:creationId xmlns:p14="http://schemas.microsoft.com/office/powerpoint/2010/main" val="230073152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323" y="457200"/>
            <a:ext cx="6172200" cy="22860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rgbClr val="78BE43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23" y="2931459"/>
            <a:ext cx="6172200" cy="1752600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5013D4-D06D-43A4-BDC8-658ACCCA7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334E7A32-B3A5-4B27-97E0-D103789D1228}"/>
              </a:ext>
            </a:extLst>
          </p:cNvPr>
          <p:cNvSpPr txBox="1">
            <a:spLocks/>
          </p:cNvSpPr>
          <p:nvPr userDrawn="1"/>
        </p:nvSpPr>
        <p:spPr>
          <a:xfrm>
            <a:off x="9746174" y="6248400"/>
            <a:ext cx="2133600" cy="42081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rgbClr val="006747"/>
                </a:solidFill>
                <a:latin typeface="Poppins Light" panose="02000000000000000000" pitchFamily="2" charset="0"/>
                <a:ea typeface="+mn-ea"/>
                <a:cs typeface="Poppins Light" panose="02000000000000000000" pitchFamily="2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100" dirty="0" err="1">
                <a:solidFill>
                  <a:schemeClr val="bg1">
                    <a:lumMod val="50000"/>
                  </a:schemeClr>
                </a:solidFill>
                <a:latin typeface="+mj-lt"/>
              </a:rPr>
              <a:t>CommerceHealthcare</a:t>
            </a:r>
            <a:r>
              <a:rPr lang="en-US" sz="1100" b="0" i="0" u="none" strike="noStrike" kern="1200" baseline="30000" dirty="0">
                <a:solidFill>
                  <a:schemeClr val="bg1">
                    <a:lumMod val="50000"/>
                  </a:schemeClr>
                </a:solidFill>
                <a:latin typeface="+mj-lt"/>
                <a:ea typeface="+mn-ea"/>
                <a:cs typeface="Poppins Light" panose="02000000000000000000" pitchFamily="2" charset="0"/>
              </a:rPr>
              <a:t>®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solutions are provided by Commerce Bank.</a:t>
            </a:r>
          </a:p>
        </p:txBody>
      </p:sp>
    </p:spTree>
    <p:extLst>
      <p:ext uri="{BB962C8B-B14F-4D97-AF65-F5344CB8AC3E}">
        <p14:creationId xmlns:p14="http://schemas.microsoft.com/office/powerpoint/2010/main" val="220726249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Blu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322" y="1143000"/>
            <a:ext cx="11179277" cy="16002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23" y="2931459"/>
            <a:ext cx="11179276" cy="802341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tion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5013D4-D06D-43A4-BDC8-658ACCCA7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8723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Green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322" y="1143000"/>
            <a:ext cx="11179277" cy="16002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23" y="2931459"/>
            <a:ext cx="11179276" cy="802341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tion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5013D4-D06D-43A4-BDC8-658ACCCA7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2003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9" y="2"/>
            <a:ext cx="12189631" cy="60769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2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53555C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2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57521080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Title Alternat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323" y="1143000"/>
            <a:ext cx="7445478" cy="16002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rgbClr val="00B5E2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23" y="2931459"/>
            <a:ext cx="7445477" cy="802341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tion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5013D4-D06D-43A4-BDC8-658ACCCA7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8150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274638"/>
            <a:ext cx="11582400" cy="1249362"/>
          </a:xfrm>
        </p:spPr>
        <p:txBody>
          <a:bodyPr/>
          <a:lstStyle>
            <a:lvl1pPr algn="l">
              <a:defRPr b="1"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676401"/>
            <a:ext cx="11582400" cy="4419599"/>
          </a:xfrm>
        </p:spPr>
        <p:txBody>
          <a:bodyPr/>
          <a:lstStyle>
            <a:lvl1pPr>
              <a:defRPr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</a:lstStyle>
          <a:p>
            <a:pPr lvl="0"/>
            <a:r>
              <a:rPr lang="en-US" dirty="0"/>
              <a:t>Slide conten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04147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94845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84350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55254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fld id="{55677406-D7E0-4DA2-AC81-AADCE80034A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19128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circles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3BAE83C-7F47-4150-A6F1-82D79F6DB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0" y="1"/>
            <a:ext cx="12189480" cy="68522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C95878B-0444-4AAA-9433-93668CF9C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1225" y="2870208"/>
            <a:ext cx="8498475" cy="704461"/>
          </a:xfrm>
        </p:spPr>
        <p:txBody>
          <a:bodyPr anchor="b"/>
          <a:lstStyle>
            <a:lvl1pPr>
              <a:defRPr sz="4800">
                <a:solidFill>
                  <a:srgbClr val="77BC1F"/>
                </a:solidFill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5B8E7228-6A5C-4866-A7BF-FC0EC12AEFA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31225" y="3639228"/>
            <a:ext cx="8498475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rgbClr val="53555C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nter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9403213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vider-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" y="1"/>
            <a:ext cx="12189628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1225" y="2870208"/>
            <a:ext cx="8498475" cy="704461"/>
          </a:xfrm>
        </p:spPr>
        <p:txBody>
          <a:bodyPr anchor="b"/>
          <a:lstStyle>
            <a:lvl1pPr>
              <a:defRPr sz="4800">
                <a:solidFill>
                  <a:srgbClr val="77BC1F"/>
                </a:solidFill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225" y="3639228"/>
            <a:ext cx="8498475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rgbClr val="53555C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nter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174970091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84273"/>
            <a:ext cx="10987312" cy="5506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708150"/>
            <a:ext cx="10987315" cy="406241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11297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A7046DF-BCE3-47B2-9BF9-434298F70564}"/>
              </a:ext>
            </a:extLst>
          </p:cNvPr>
          <p:cNvSpPr/>
          <p:nvPr userDrawn="1"/>
        </p:nvSpPr>
        <p:spPr>
          <a:xfrm>
            <a:off x="0" y="5645274"/>
            <a:ext cx="12192000" cy="12127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pic>
        <p:nvPicPr>
          <p:cNvPr id="10" name="Picture 9" descr="A picture containing person, indoor, wall, computer&#10;&#10;Description automatically generated">
            <a:extLst>
              <a:ext uri="{FF2B5EF4-FFF2-40B4-BE49-F238E27FC236}">
                <a16:creationId xmlns:a16="http://schemas.microsoft.com/office/drawing/2014/main" id="{AB35466C-CFA2-4FE3-A8DE-3C9CB9FE31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5705062" y="0"/>
            <a:ext cx="6486940" cy="5969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3504066-6B00-46FC-A115-03D025ECC684}"/>
              </a:ext>
            </a:extLst>
          </p:cNvPr>
          <p:cNvSpPr/>
          <p:nvPr userDrawn="1"/>
        </p:nvSpPr>
        <p:spPr>
          <a:xfrm>
            <a:off x="4024412" y="0"/>
            <a:ext cx="4483475" cy="6858000"/>
          </a:xfrm>
          <a:prstGeom prst="rect">
            <a:avLst/>
          </a:prstGeom>
          <a:gradFill flip="none" rotWithShape="1">
            <a:gsLst>
              <a:gs pos="51000">
                <a:schemeClr val="bg1"/>
              </a:gs>
              <a:gs pos="78000">
                <a:schemeClr val="bg1">
                  <a:alpha val="0"/>
                </a:schemeClr>
              </a:gs>
            </a:gsLst>
            <a:lin ang="21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 flipH="1">
            <a:off x="914400" y="5969000"/>
            <a:ext cx="793699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27">
            <a:extLst>
              <a:ext uri="{FF2B5EF4-FFF2-40B4-BE49-F238E27FC236}">
                <a16:creationId xmlns:a16="http://schemas.microsoft.com/office/drawing/2014/main" id="{DDFE1A2E-7CE0-48B1-8156-EB3EFDDF9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8205" y="3810005"/>
            <a:ext cx="3613795" cy="3047999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6070A396-ECF4-4FB2-A6A3-2587617A34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179" y="6089624"/>
            <a:ext cx="4220308" cy="603504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4709707E-2268-40EC-95CF-165D2E278035}"/>
              </a:ext>
            </a:extLst>
          </p:cNvPr>
          <p:cNvGrpSpPr/>
          <p:nvPr userDrawn="1"/>
        </p:nvGrpSpPr>
        <p:grpSpPr>
          <a:xfrm>
            <a:off x="-728585" y="2936944"/>
            <a:ext cx="1501513" cy="1681992"/>
            <a:chOff x="-146258" y="2003732"/>
            <a:chExt cx="971193" cy="1087929"/>
          </a:xfrm>
        </p:grpSpPr>
        <p:sp>
          <p:nvSpPr>
            <p:cNvPr id="25" name="Chord 24">
              <a:extLst>
                <a:ext uri="{FF2B5EF4-FFF2-40B4-BE49-F238E27FC236}">
                  <a16:creationId xmlns:a16="http://schemas.microsoft.com/office/drawing/2014/main" id="{3A184102-39B3-442F-9411-A15F513022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146258" y="2120468"/>
              <a:ext cx="971193" cy="971193"/>
            </a:xfrm>
            <a:prstGeom prst="chord">
              <a:avLst>
                <a:gd name="adj1" fmla="val 16092075"/>
                <a:gd name="adj2" fmla="val 5509002"/>
              </a:avLst>
            </a:prstGeom>
            <a:solidFill>
              <a:schemeClr val="accent3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7375A88-F8EC-4A1C-B7DE-6D266746B8E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0791" y="2003732"/>
              <a:ext cx="315436" cy="315436"/>
            </a:xfrm>
            <a:prstGeom prst="ellipse">
              <a:avLst/>
            </a:prstGeom>
            <a:solidFill>
              <a:schemeClr val="accent4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/>
                <a:ea typeface="+mn-ea"/>
                <a:cs typeface="+mn-cs"/>
              </a:endParaRPr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C5A6A7A0-14DB-4264-ABD3-6129ECFB71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3350490"/>
            <a:ext cx="5486400" cy="124192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0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r>
              <a:rPr lang="en-US" dirty="0"/>
              <a:t>Presentation Title (Up to Two Lines)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8F6100D0-F7E6-43E8-B615-1835E7C391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275" y="4613011"/>
            <a:ext cx="54864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Presenter Name(s), Date or Subtitle</a:t>
            </a:r>
          </a:p>
        </p:txBody>
      </p:sp>
    </p:spTree>
    <p:extLst>
      <p:ext uri="{BB962C8B-B14F-4D97-AF65-F5344CB8AC3E}">
        <p14:creationId xmlns:p14="http://schemas.microsoft.com/office/powerpoint/2010/main" val="40696713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9" y="1"/>
            <a:ext cx="12189631" cy="61817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2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77BC1F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2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152102212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l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15CC037-12AB-4F29-A71A-54034CAD97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26018" y="2"/>
            <a:ext cx="6765985" cy="597443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A7046DF-BCE3-47B2-9BF9-434298F70564}"/>
              </a:ext>
            </a:extLst>
          </p:cNvPr>
          <p:cNvSpPr/>
          <p:nvPr userDrawn="1"/>
        </p:nvSpPr>
        <p:spPr>
          <a:xfrm>
            <a:off x="0" y="5969000"/>
            <a:ext cx="12192000" cy="88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504066-6B00-46FC-A115-03D025ECC684}"/>
              </a:ext>
            </a:extLst>
          </p:cNvPr>
          <p:cNvSpPr/>
          <p:nvPr userDrawn="1"/>
        </p:nvSpPr>
        <p:spPr>
          <a:xfrm>
            <a:off x="4024412" y="0"/>
            <a:ext cx="4483475" cy="6858000"/>
          </a:xfrm>
          <a:prstGeom prst="rect">
            <a:avLst/>
          </a:prstGeom>
          <a:gradFill flip="none" rotWithShape="1">
            <a:gsLst>
              <a:gs pos="51000">
                <a:schemeClr val="bg1"/>
              </a:gs>
              <a:gs pos="78000">
                <a:schemeClr val="bg1">
                  <a:alpha val="0"/>
                </a:schemeClr>
              </a:gs>
            </a:gsLst>
            <a:lin ang="21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 flipH="1">
            <a:off x="914400" y="5969000"/>
            <a:ext cx="793699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phic 27">
            <a:extLst>
              <a:ext uri="{FF2B5EF4-FFF2-40B4-BE49-F238E27FC236}">
                <a16:creationId xmlns:a16="http://schemas.microsoft.com/office/drawing/2014/main" id="{DDFE1A2E-7CE0-48B1-8156-EB3EFDDF9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8205" y="3810005"/>
            <a:ext cx="3613795" cy="3047999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6070A396-ECF4-4FB2-A6A3-2587617A34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179" y="6089624"/>
            <a:ext cx="4220308" cy="603504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4709707E-2268-40EC-95CF-165D2E278035}"/>
              </a:ext>
            </a:extLst>
          </p:cNvPr>
          <p:cNvGrpSpPr/>
          <p:nvPr userDrawn="1"/>
        </p:nvGrpSpPr>
        <p:grpSpPr>
          <a:xfrm>
            <a:off x="-728585" y="2936944"/>
            <a:ext cx="1501513" cy="1681992"/>
            <a:chOff x="-146258" y="2003732"/>
            <a:chExt cx="971193" cy="1087929"/>
          </a:xfrm>
        </p:grpSpPr>
        <p:sp>
          <p:nvSpPr>
            <p:cNvPr id="25" name="Chord 24">
              <a:extLst>
                <a:ext uri="{FF2B5EF4-FFF2-40B4-BE49-F238E27FC236}">
                  <a16:creationId xmlns:a16="http://schemas.microsoft.com/office/drawing/2014/main" id="{3A184102-39B3-442F-9411-A15F513022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146258" y="2120468"/>
              <a:ext cx="971193" cy="971193"/>
            </a:xfrm>
            <a:prstGeom prst="chord">
              <a:avLst>
                <a:gd name="adj1" fmla="val 16092075"/>
                <a:gd name="adj2" fmla="val 5509002"/>
              </a:avLst>
            </a:prstGeom>
            <a:solidFill>
              <a:schemeClr val="accent3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7375A88-F8EC-4A1C-B7DE-6D266746B8E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0791" y="2003732"/>
              <a:ext cx="315436" cy="315436"/>
            </a:xfrm>
            <a:prstGeom prst="ellipse">
              <a:avLst/>
            </a:prstGeom>
            <a:solidFill>
              <a:schemeClr val="accent4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/>
                <a:ea typeface="+mn-ea"/>
                <a:cs typeface="+mn-cs"/>
              </a:endParaRPr>
            </a:p>
          </p:txBody>
        </p:sp>
      </p:grpSp>
      <p:sp>
        <p:nvSpPr>
          <p:cNvPr id="18" name="Title 1">
            <a:extLst>
              <a:ext uri="{FF2B5EF4-FFF2-40B4-BE49-F238E27FC236}">
                <a16:creationId xmlns:a16="http://schemas.microsoft.com/office/drawing/2014/main" id="{38E011C7-B8E2-47AD-88E9-E5A62381D8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3350490"/>
            <a:ext cx="5486400" cy="124192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0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r>
              <a:rPr lang="en-US" dirty="0"/>
              <a:t>Presentation Title (Up to Two Lines)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0BC4EB9F-D96F-4342-921E-079CA738AD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275" y="4613011"/>
            <a:ext cx="54864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Presenter Name(s), Date or Subtitle</a:t>
            </a:r>
          </a:p>
        </p:txBody>
      </p:sp>
    </p:spTree>
    <p:extLst>
      <p:ext uri="{BB962C8B-B14F-4D97-AF65-F5344CB8AC3E}">
        <p14:creationId xmlns:p14="http://schemas.microsoft.com/office/powerpoint/2010/main" val="102282501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DE9AA42-7E33-4C75-882A-9CBDCF923421}"/>
              </a:ext>
            </a:extLst>
          </p:cNvPr>
          <p:cNvSpPr/>
          <p:nvPr userDrawn="1"/>
        </p:nvSpPr>
        <p:spPr>
          <a:xfrm>
            <a:off x="0" y="5645274"/>
            <a:ext cx="12192000" cy="12127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pic>
        <p:nvPicPr>
          <p:cNvPr id="8" name="Picture 7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54287C9B-06C8-46AF-AD28-AF23A282CE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94589" y="1"/>
            <a:ext cx="9397411" cy="5969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3504066-6B00-46FC-A115-03D025ECC684}"/>
              </a:ext>
            </a:extLst>
          </p:cNvPr>
          <p:cNvSpPr/>
          <p:nvPr userDrawn="1"/>
        </p:nvSpPr>
        <p:spPr>
          <a:xfrm>
            <a:off x="0" y="0"/>
            <a:ext cx="9753600" cy="6858000"/>
          </a:xfrm>
          <a:prstGeom prst="rect">
            <a:avLst/>
          </a:prstGeom>
          <a:gradFill flip="none" rotWithShape="1">
            <a:gsLst>
              <a:gs pos="51000">
                <a:schemeClr val="bg1"/>
              </a:gs>
              <a:gs pos="8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DDFE1A2E-7CE0-48B1-8156-EB3EFDDF9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8205" y="3810005"/>
            <a:ext cx="3613795" cy="3047999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6070A396-ECF4-4FB2-A6A3-2587617A34B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179" y="6089624"/>
            <a:ext cx="4220308" cy="603504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4709707E-2268-40EC-95CF-165D2E278035}"/>
              </a:ext>
            </a:extLst>
          </p:cNvPr>
          <p:cNvGrpSpPr/>
          <p:nvPr userDrawn="1"/>
        </p:nvGrpSpPr>
        <p:grpSpPr>
          <a:xfrm>
            <a:off x="-728585" y="2936944"/>
            <a:ext cx="1501513" cy="1681992"/>
            <a:chOff x="-146258" y="2003732"/>
            <a:chExt cx="971193" cy="1087929"/>
          </a:xfrm>
        </p:grpSpPr>
        <p:sp>
          <p:nvSpPr>
            <p:cNvPr id="25" name="Chord 24">
              <a:extLst>
                <a:ext uri="{FF2B5EF4-FFF2-40B4-BE49-F238E27FC236}">
                  <a16:creationId xmlns:a16="http://schemas.microsoft.com/office/drawing/2014/main" id="{3A184102-39B3-442F-9411-A15F513022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146258" y="2120468"/>
              <a:ext cx="971193" cy="971193"/>
            </a:xfrm>
            <a:prstGeom prst="chord">
              <a:avLst>
                <a:gd name="adj1" fmla="val 16092075"/>
                <a:gd name="adj2" fmla="val 5509002"/>
              </a:avLst>
            </a:prstGeom>
            <a:solidFill>
              <a:schemeClr val="accent3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7375A88-F8EC-4A1C-B7DE-6D266746B8E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0791" y="2003732"/>
              <a:ext cx="315436" cy="315436"/>
            </a:xfrm>
            <a:prstGeom prst="ellipse">
              <a:avLst/>
            </a:prstGeom>
            <a:solidFill>
              <a:schemeClr val="accent4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/>
                <a:ea typeface="+mn-ea"/>
                <a:cs typeface="+mn-cs"/>
              </a:endParaRPr>
            </a:p>
          </p:txBody>
        </p:sp>
      </p:grpSp>
      <p:cxnSp>
        <p:nvCxnSpPr>
          <p:cNvPr id="13" name="Straight Connector 12"/>
          <p:cNvCxnSpPr>
            <a:cxnSpLocks/>
          </p:cNvCxnSpPr>
          <p:nvPr userDrawn="1"/>
        </p:nvCxnSpPr>
        <p:spPr>
          <a:xfrm flipH="1">
            <a:off x="914400" y="5969000"/>
            <a:ext cx="7927848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>
            <a:extLst>
              <a:ext uri="{FF2B5EF4-FFF2-40B4-BE49-F238E27FC236}">
                <a16:creationId xmlns:a16="http://schemas.microsoft.com/office/drawing/2014/main" id="{464BF41F-8DD1-4A10-AB63-59F453FE19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3350490"/>
            <a:ext cx="5486400" cy="124192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0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r>
              <a:rPr lang="en-US" dirty="0"/>
              <a:t>Presentation Title (Up to Two Lines)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FC53A7A-97F8-4EC6-B8FD-FA6C5BB5DF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275" y="4613011"/>
            <a:ext cx="54864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Presenter Name(s), Date or Subtitle</a:t>
            </a:r>
          </a:p>
        </p:txBody>
      </p:sp>
    </p:spTree>
    <p:extLst>
      <p:ext uri="{BB962C8B-B14F-4D97-AF65-F5344CB8AC3E}">
        <p14:creationId xmlns:p14="http://schemas.microsoft.com/office/powerpoint/2010/main" val="279876370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8C53676-6D7D-4ABC-B958-149FDF2B0572}"/>
              </a:ext>
            </a:extLst>
          </p:cNvPr>
          <p:cNvSpPr/>
          <p:nvPr userDrawn="1"/>
        </p:nvSpPr>
        <p:spPr>
          <a:xfrm>
            <a:off x="1" y="5974621"/>
            <a:ext cx="12192552" cy="8833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8C1D2D-8E81-499E-8F41-E0AEC8B570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87992" y="2"/>
            <a:ext cx="6904008" cy="5974623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718ACED9-1847-4BBC-8AA8-0B29CF8A8540}"/>
              </a:ext>
            </a:extLst>
          </p:cNvPr>
          <p:cNvSpPr/>
          <p:nvPr userDrawn="1"/>
        </p:nvSpPr>
        <p:spPr>
          <a:xfrm>
            <a:off x="4345549" y="5068568"/>
            <a:ext cx="2162339" cy="1913525"/>
          </a:xfrm>
          <a:prstGeom prst="ellipse">
            <a:avLst/>
          </a:prstGeom>
          <a:gradFill flip="none" rotWithShape="1">
            <a:gsLst>
              <a:gs pos="26000">
                <a:schemeClr val="bg1"/>
              </a:gs>
              <a:gs pos="72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504066-6B00-46FC-A115-03D025ECC684}"/>
              </a:ext>
            </a:extLst>
          </p:cNvPr>
          <p:cNvSpPr/>
          <p:nvPr userDrawn="1"/>
        </p:nvSpPr>
        <p:spPr>
          <a:xfrm>
            <a:off x="4396899" y="-4376"/>
            <a:ext cx="1955439" cy="6858000"/>
          </a:xfrm>
          <a:prstGeom prst="rect">
            <a:avLst/>
          </a:prstGeom>
          <a:gradFill flip="none" rotWithShape="1">
            <a:gsLst>
              <a:gs pos="51000">
                <a:schemeClr val="bg1"/>
              </a:gs>
              <a:gs pos="91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95B4E3D-4CAD-4765-8906-5C3728A885A9}"/>
              </a:ext>
            </a:extLst>
          </p:cNvPr>
          <p:cNvSpPr/>
          <p:nvPr userDrawn="1"/>
        </p:nvSpPr>
        <p:spPr>
          <a:xfrm>
            <a:off x="2640411" y="3094939"/>
            <a:ext cx="3444327" cy="3047999"/>
          </a:xfrm>
          <a:prstGeom prst="ellipse">
            <a:avLst/>
          </a:prstGeom>
          <a:gradFill flip="none" rotWithShape="1">
            <a:gsLst>
              <a:gs pos="26000">
                <a:schemeClr val="bg1"/>
              </a:gs>
              <a:gs pos="72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 flipH="1">
            <a:off x="914400" y="5969000"/>
            <a:ext cx="6986016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6070A396-ECF4-4FB2-A6A3-2587617A34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179" y="6089624"/>
            <a:ext cx="4220308" cy="603504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4709707E-2268-40EC-95CF-165D2E278035}"/>
              </a:ext>
            </a:extLst>
          </p:cNvPr>
          <p:cNvGrpSpPr/>
          <p:nvPr userDrawn="1"/>
        </p:nvGrpSpPr>
        <p:grpSpPr>
          <a:xfrm>
            <a:off x="-728585" y="2936944"/>
            <a:ext cx="1501513" cy="1681992"/>
            <a:chOff x="-146258" y="2003732"/>
            <a:chExt cx="971193" cy="1087929"/>
          </a:xfrm>
        </p:grpSpPr>
        <p:sp>
          <p:nvSpPr>
            <p:cNvPr id="25" name="Chord 24">
              <a:extLst>
                <a:ext uri="{FF2B5EF4-FFF2-40B4-BE49-F238E27FC236}">
                  <a16:creationId xmlns:a16="http://schemas.microsoft.com/office/drawing/2014/main" id="{3A184102-39B3-442F-9411-A15F51302299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146258" y="2120468"/>
              <a:ext cx="971193" cy="971193"/>
            </a:xfrm>
            <a:prstGeom prst="chord">
              <a:avLst>
                <a:gd name="adj1" fmla="val 16092075"/>
                <a:gd name="adj2" fmla="val 5509002"/>
              </a:avLst>
            </a:prstGeom>
            <a:solidFill>
              <a:schemeClr val="accent3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B7375A88-F8EC-4A1C-B7DE-6D266746B8E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0791" y="2003732"/>
              <a:ext cx="315436" cy="315436"/>
            </a:xfrm>
            <a:prstGeom prst="ellipse">
              <a:avLst/>
            </a:prstGeom>
            <a:solidFill>
              <a:schemeClr val="accent4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"/>
                <a:ea typeface="+mn-ea"/>
                <a:cs typeface="+mn-cs"/>
              </a:endParaRPr>
            </a:p>
          </p:txBody>
        </p:sp>
      </p:grpSp>
      <p:sp>
        <p:nvSpPr>
          <p:cNvPr id="15" name="Oval 14">
            <a:extLst>
              <a:ext uri="{FF2B5EF4-FFF2-40B4-BE49-F238E27FC236}">
                <a16:creationId xmlns:a16="http://schemas.microsoft.com/office/drawing/2014/main" id="{6984EE7B-3D73-452C-880A-BEC35090748B}"/>
              </a:ext>
            </a:extLst>
          </p:cNvPr>
          <p:cNvSpPr/>
          <p:nvPr userDrawn="1"/>
        </p:nvSpPr>
        <p:spPr>
          <a:xfrm>
            <a:off x="5739819" y="4749237"/>
            <a:ext cx="471724" cy="545315"/>
          </a:xfrm>
          <a:prstGeom prst="ellipse">
            <a:avLst/>
          </a:prstGeom>
          <a:gradFill flip="none" rotWithShape="1">
            <a:gsLst>
              <a:gs pos="14000">
                <a:srgbClr val="ECEFF3"/>
              </a:gs>
              <a:gs pos="57000">
                <a:srgbClr val="E7ECF0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1DC1442-E7D5-4488-8810-254A776D8806}"/>
              </a:ext>
            </a:extLst>
          </p:cNvPr>
          <p:cNvSpPr/>
          <p:nvPr userDrawn="1"/>
        </p:nvSpPr>
        <p:spPr>
          <a:xfrm>
            <a:off x="5936850" y="4772461"/>
            <a:ext cx="471724" cy="545315"/>
          </a:xfrm>
          <a:prstGeom prst="ellipse">
            <a:avLst/>
          </a:prstGeom>
          <a:gradFill flip="none" rotWithShape="1">
            <a:gsLst>
              <a:gs pos="14000">
                <a:srgbClr val="ECEFF3"/>
              </a:gs>
              <a:gs pos="57000">
                <a:srgbClr val="E5EAE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D9A1440-8060-4A84-B569-A991EC5C9BDE}"/>
              </a:ext>
            </a:extLst>
          </p:cNvPr>
          <p:cNvSpPr/>
          <p:nvPr userDrawn="1"/>
        </p:nvSpPr>
        <p:spPr>
          <a:xfrm rot="484123">
            <a:off x="5765518" y="4779719"/>
            <a:ext cx="962049" cy="71420"/>
          </a:xfrm>
          <a:prstGeom prst="ellipse">
            <a:avLst/>
          </a:prstGeom>
          <a:gradFill flip="none" rotWithShape="1">
            <a:gsLst>
              <a:gs pos="5000">
                <a:srgbClr val="A7ACAE">
                  <a:alpha val="93000"/>
                </a:srgbClr>
              </a:gs>
              <a:gs pos="50000">
                <a:srgbClr val="ADB3B5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6" name="Block Arc 5">
            <a:extLst>
              <a:ext uri="{FF2B5EF4-FFF2-40B4-BE49-F238E27FC236}">
                <a16:creationId xmlns:a16="http://schemas.microsoft.com/office/drawing/2014/main" id="{4D45D111-DEDE-4FFC-9750-59C71177F013}"/>
              </a:ext>
            </a:extLst>
          </p:cNvPr>
          <p:cNvSpPr/>
          <p:nvPr userDrawn="1"/>
        </p:nvSpPr>
        <p:spPr>
          <a:xfrm>
            <a:off x="7689964" y="3603837"/>
            <a:ext cx="4502037" cy="3254163"/>
          </a:xfrm>
          <a:custGeom>
            <a:avLst/>
            <a:gdLst>
              <a:gd name="connsiteX0" fmla="*/ 0 w 7279874"/>
              <a:gd name="connsiteY0" fmla="*/ 3639937 h 7279874"/>
              <a:gd name="connsiteX1" fmla="*/ 2033103 w 7279874"/>
              <a:gd name="connsiteY1" fmla="*/ 373865 h 7279874"/>
              <a:gd name="connsiteX2" fmla="*/ 5861215 w 7279874"/>
              <a:gd name="connsiteY2" fmla="*/ 756351 h 7279874"/>
              <a:gd name="connsiteX3" fmla="*/ 5220775 w 7279874"/>
              <a:gd name="connsiteY3" fmla="*/ 1587746 h 7279874"/>
              <a:gd name="connsiteX4" fmla="*/ 2496385 w 7279874"/>
              <a:gd name="connsiteY4" fmla="*/ 1315539 h 7279874"/>
              <a:gd name="connsiteX5" fmla="*/ 1049466 w 7279874"/>
              <a:gd name="connsiteY5" fmla="*/ 3639937 h 7279874"/>
              <a:gd name="connsiteX6" fmla="*/ 0 w 7279874"/>
              <a:gd name="connsiteY6" fmla="*/ 3639937 h 7279874"/>
              <a:gd name="connsiteX0" fmla="*/ 0 w 5247914"/>
              <a:gd name="connsiteY0" fmla="*/ 3962305 h 3962305"/>
              <a:gd name="connsiteX1" fmla="*/ 2033103 w 5247914"/>
              <a:gd name="connsiteY1" fmla="*/ 696233 h 3962305"/>
              <a:gd name="connsiteX2" fmla="*/ 4525072 w 5247914"/>
              <a:gd name="connsiteY2" fmla="*/ 447969 h 3962305"/>
              <a:gd name="connsiteX3" fmla="*/ 5220775 w 5247914"/>
              <a:gd name="connsiteY3" fmla="*/ 1910114 h 3962305"/>
              <a:gd name="connsiteX4" fmla="*/ 2496385 w 5247914"/>
              <a:gd name="connsiteY4" fmla="*/ 1637907 h 3962305"/>
              <a:gd name="connsiteX5" fmla="*/ 1049466 w 5247914"/>
              <a:gd name="connsiteY5" fmla="*/ 3962305 h 3962305"/>
              <a:gd name="connsiteX6" fmla="*/ 0 w 5247914"/>
              <a:gd name="connsiteY6" fmla="*/ 3962305 h 3962305"/>
              <a:gd name="connsiteX0" fmla="*/ 0 w 5253330"/>
              <a:gd name="connsiteY0" fmla="*/ 3962305 h 3962305"/>
              <a:gd name="connsiteX1" fmla="*/ 2033103 w 5253330"/>
              <a:gd name="connsiteY1" fmla="*/ 696233 h 3962305"/>
              <a:gd name="connsiteX2" fmla="*/ 4525072 w 5253330"/>
              <a:gd name="connsiteY2" fmla="*/ 447969 h 3962305"/>
              <a:gd name="connsiteX3" fmla="*/ 5220775 w 5253330"/>
              <a:gd name="connsiteY3" fmla="*/ 1910114 h 3962305"/>
              <a:gd name="connsiteX4" fmla="*/ 2496385 w 5253330"/>
              <a:gd name="connsiteY4" fmla="*/ 1637907 h 3962305"/>
              <a:gd name="connsiteX5" fmla="*/ 1049466 w 5253330"/>
              <a:gd name="connsiteY5" fmla="*/ 3962305 h 3962305"/>
              <a:gd name="connsiteX6" fmla="*/ 0 w 5253330"/>
              <a:gd name="connsiteY6" fmla="*/ 3962305 h 3962305"/>
              <a:gd name="connsiteX0" fmla="*/ 0 w 4618980"/>
              <a:gd name="connsiteY0" fmla="*/ 3962305 h 3962305"/>
              <a:gd name="connsiteX1" fmla="*/ 2033103 w 4618980"/>
              <a:gd name="connsiteY1" fmla="*/ 696233 h 3962305"/>
              <a:gd name="connsiteX2" fmla="*/ 4525072 w 4618980"/>
              <a:gd name="connsiteY2" fmla="*/ 447969 h 3962305"/>
              <a:gd name="connsiteX3" fmla="*/ 4522845 w 4618980"/>
              <a:gd name="connsiteY3" fmla="*/ 1533157 h 3962305"/>
              <a:gd name="connsiteX4" fmla="*/ 2496385 w 4618980"/>
              <a:gd name="connsiteY4" fmla="*/ 1637907 h 3962305"/>
              <a:gd name="connsiteX5" fmla="*/ 1049466 w 4618980"/>
              <a:gd name="connsiteY5" fmla="*/ 3962305 h 3962305"/>
              <a:gd name="connsiteX6" fmla="*/ 0 w 4618980"/>
              <a:gd name="connsiteY6" fmla="*/ 3962305 h 3962305"/>
              <a:gd name="connsiteX0" fmla="*/ 0 w 4528162"/>
              <a:gd name="connsiteY0" fmla="*/ 3962305 h 3962305"/>
              <a:gd name="connsiteX1" fmla="*/ 2033103 w 4528162"/>
              <a:gd name="connsiteY1" fmla="*/ 696233 h 3962305"/>
              <a:gd name="connsiteX2" fmla="*/ 4525072 w 4528162"/>
              <a:gd name="connsiteY2" fmla="*/ 447969 h 3962305"/>
              <a:gd name="connsiteX3" fmla="*/ 4522845 w 4528162"/>
              <a:gd name="connsiteY3" fmla="*/ 1533157 h 3962305"/>
              <a:gd name="connsiteX4" fmla="*/ 2496385 w 4528162"/>
              <a:gd name="connsiteY4" fmla="*/ 1637907 h 3962305"/>
              <a:gd name="connsiteX5" fmla="*/ 1049466 w 4528162"/>
              <a:gd name="connsiteY5" fmla="*/ 3962305 h 3962305"/>
              <a:gd name="connsiteX6" fmla="*/ 0 w 4528162"/>
              <a:gd name="connsiteY6" fmla="*/ 3962305 h 3962305"/>
              <a:gd name="connsiteX0" fmla="*/ 0 w 4528162"/>
              <a:gd name="connsiteY0" fmla="*/ 3962305 h 3962305"/>
              <a:gd name="connsiteX1" fmla="*/ 2033103 w 4528162"/>
              <a:gd name="connsiteY1" fmla="*/ 696233 h 3962305"/>
              <a:gd name="connsiteX2" fmla="*/ 4525072 w 4528162"/>
              <a:gd name="connsiteY2" fmla="*/ 447969 h 3962305"/>
              <a:gd name="connsiteX3" fmla="*/ 4522845 w 4528162"/>
              <a:gd name="connsiteY3" fmla="*/ 1533157 h 3962305"/>
              <a:gd name="connsiteX4" fmla="*/ 2496385 w 4528162"/>
              <a:gd name="connsiteY4" fmla="*/ 1637907 h 3962305"/>
              <a:gd name="connsiteX5" fmla="*/ 1049466 w 4528162"/>
              <a:gd name="connsiteY5" fmla="*/ 3962305 h 3962305"/>
              <a:gd name="connsiteX6" fmla="*/ 0 w 4528162"/>
              <a:gd name="connsiteY6" fmla="*/ 3962305 h 3962305"/>
              <a:gd name="connsiteX0" fmla="*/ 0 w 4528162"/>
              <a:gd name="connsiteY0" fmla="*/ 3645982 h 3645982"/>
              <a:gd name="connsiteX1" fmla="*/ 2033103 w 4528162"/>
              <a:gd name="connsiteY1" fmla="*/ 379910 h 3645982"/>
              <a:gd name="connsiteX2" fmla="*/ 4525072 w 4528162"/>
              <a:gd name="connsiteY2" fmla="*/ 131646 h 3645982"/>
              <a:gd name="connsiteX3" fmla="*/ 4522845 w 4528162"/>
              <a:gd name="connsiteY3" fmla="*/ 1216834 h 3645982"/>
              <a:gd name="connsiteX4" fmla="*/ 2496385 w 4528162"/>
              <a:gd name="connsiteY4" fmla="*/ 1321584 h 3645982"/>
              <a:gd name="connsiteX5" fmla="*/ 1049466 w 4528162"/>
              <a:gd name="connsiteY5" fmla="*/ 3645982 h 3645982"/>
              <a:gd name="connsiteX6" fmla="*/ 0 w 4528162"/>
              <a:gd name="connsiteY6" fmla="*/ 3645982 h 3645982"/>
              <a:gd name="connsiteX0" fmla="*/ 0 w 4528162"/>
              <a:gd name="connsiteY0" fmla="*/ 3650175 h 3650175"/>
              <a:gd name="connsiteX1" fmla="*/ 2033103 w 4528162"/>
              <a:gd name="connsiteY1" fmla="*/ 384103 h 3650175"/>
              <a:gd name="connsiteX2" fmla="*/ 4525072 w 4528162"/>
              <a:gd name="connsiteY2" fmla="*/ 135839 h 3650175"/>
              <a:gd name="connsiteX3" fmla="*/ 4522845 w 4528162"/>
              <a:gd name="connsiteY3" fmla="*/ 1221027 h 3650175"/>
              <a:gd name="connsiteX4" fmla="*/ 2496385 w 4528162"/>
              <a:gd name="connsiteY4" fmla="*/ 1325777 h 3650175"/>
              <a:gd name="connsiteX5" fmla="*/ 1049466 w 4528162"/>
              <a:gd name="connsiteY5" fmla="*/ 3650175 h 3650175"/>
              <a:gd name="connsiteX6" fmla="*/ 0 w 4528162"/>
              <a:gd name="connsiteY6" fmla="*/ 3650175 h 3650175"/>
              <a:gd name="connsiteX0" fmla="*/ 0 w 4528162"/>
              <a:gd name="connsiteY0" fmla="*/ 3650175 h 3650175"/>
              <a:gd name="connsiteX1" fmla="*/ 2033103 w 4528162"/>
              <a:gd name="connsiteY1" fmla="*/ 384103 h 3650175"/>
              <a:gd name="connsiteX2" fmla="*/ 4525072 w 4528162"/>
              <a:gd name="connsiteY2" fmla="*/ 135839 h 3650175"/>
              <a:gd name="connsiteX3" fmla="*/ 4522845 w 4528162"/>
              <a:gd name="connsiteY3" fmla="*/ 1221027 h 3650175"/>
              <a:gd name="connsiteX4" fmla="*/ 2496385 w 4528162"/>
              <a:gd name="connsiteY4" fmla="*/ 1325777 h 3650175"/>
              <a:gd name="connsiteX5" fmla="*/ 1049466 w 4528162"/>
              <a:gd name="connsiteY5" fmla="*/ 3650175 h 3650175"/>
              <a:gd name="connsiteX6" fmla="*/ 0 w 4528162"/>
              <a:gd name="connsiteY6" fmla="*/ 3650175 h 3650175"/>
              <a:gd name="connsiteX0" fmla="*/ 0 w 4528162"/>
              <a:gd name="connsiteY0" fmla="*/ 3650175 h 3650175"/>
              <a:gd name="connsiteX1" fmla="*/ 2033103 w 4528162"/>
              <a:gd name="connsiteY1" fmla="*/ 384103 h 3650175"/>
              <a:gd name="connsiteX2" fmla="*/ 4525072 w 4528162"/>
              <a:gd name="connsiteY2" fmla="*/ 135839 h 3650175"/>
              <a:gd name="connsiteX3" fmla="*/ 4522845 w 4528162"/>
              <a:gd name="connsiteY3" fmla="*/ 1221027 h 3650175"/>
              <a:gd name="connsiteX4" fmla="*/ 2496385 w 4528162"/>
              <a:gd name="connsiteY4" fmla="*/ 1325777 h 3650175"/>
              <a:gd name="connsiteX5" fmla="*/ 1049466 w 4528162"/>
              <a:gd name="connsiteY5" fmla="*/ 3650175 h 3650175"/>
              <a:gd name="connsiteX6" fmla="*/ 0 w 4528162"/>
              <a:gd name="connsiteY6" fmla="*/ 3650175 h 3650175"/>
              <a:gd name="connsiteX0" fmla="*/ 0 w 4528162"/>
              <a:gd name="connsiteY0" fmla="*/ 3650175 h 3650175"/>
              <a:gd name="connsiteX1" fmla="*/ 2033103 w 4528162"/>
              <a:gd name="connsiteY1" fmla="*/ 384103 h 3650175"/>
              <a:gd name="connsiteX2" fmla="*/ 4525072 w 4528162"/>
              <a:gd name="connsiteY2" fmla="*/ 135839 h 3650175"/>
              <a:gd name="connsiteX3" fmla="*/ 4522845 w 4528162"/>
              <a:gd name="connsiteY3" fmla="*/ 1221027 h 3650175"/>
              <a:gd name="connsiteX4" fmla="*/ 2496385 w 4528162"/>
              <a:gd name="connsiteY4" fmla="*/ 1325777 h 3650175"/>
              <a:gd name="connsiteX5" fmla="*/ 1049466 w 4528162"/>
              <a:gd name="connsiteY5" fmla="*/ 3650175 h 3650175"/>
              <a:gd name="connsiteX6" fmla="*/ 0 w 4528162"/>
              <a:gd name="connsiteY6" fmla="*/ 3650175 h 3650175"/>
              <a:gd name="connsiteX0" fmla="*/ 0 w 4528162"/>
              <a:gd name="connsiteY0" fmla="*/ 3650175 h 3650175"/>
              <a:gd name="connsiteX1" fmla="*/ 2033103 w 4528162"/>
              <a:gd name="connsiteY1" fmla="*/ 384103 h 3650175"/>
              <a:gd name="connsiteX2" fmla="*/ 4525072 w 4528162"/>
              <a:gd name="connsiteY2" fmla="*/ 135839 h 3650175"/>
              <a:gd name="connsiteX3" fmla="*/ 4522845 w 4528162"/>
              <a:gd name="connsiteY3" fmla="*/ 1221027 h 3650175"/>
              <a:gd name="connsiteX4" fmla="*/ 2496385 w 4528162"/>
              <a:gd name="connsiteY4" fmla="*/ 1325777 h 3650175"/>
              <a:gd name="connsiteX5" fmla="*/ 1049466 w 4528162"/>
              <a:gd name="connsiteY5" fmla="*/ 3650175 h 3650175"/>
              <a:gd name="connsiteX6" fmla="*/ 0 w 4528162"/>
              <a:gd name="connsiteY6" fmla="*/ 3650175 h 3650175"/>
              <a:gd name="connsiteX0" fmla="*/ 0 w 4528162"/>
              <a:gd name="connsiteY0" fmla="*/ 3650175 h 3650175"/>
              <a:gd name="connsiteX1" fmla="*/ 2033103 w 4528162"/>
              <a:gd name="connsiteY1" fmla="*/ 384103 h 3650175"/>
              <a:gd name="connsiteX2" fmla="*/ 4525072 w 4528162"/>
              <a:gd name="connsiteY2" fmla="*/ 135839 h 3650175"/>
              <a:gd name="connsiteX3" fmla="*/ 4522845 w 4528162"/>
              <a:gd name="connsiteY3" fmla="*/ 1221027 h 3650175"/>
              <a:gd name="connsiteX4" fmla="*/ 2496385 w 4528162"/>
              <a:gd name="connsiteY4" fmla="*/ 1325777 h 3650175"/>
              <a:gd name="connsiteX5" fmla="*/ 1049466 w 4528162"/>
              <a:gd name="connsiteY5" fmla="*/ 3650175 h 3650175"/>
              <a:gd name="connsiteX6" fmla="*/ 0 w 4528162"/>
              <a:gd name="connsiteY6" fmla="*/ 3650175 h 3650175"/>
              <a:gd name="connsiteX0" fmla="*/ 0 w 4502037"/>
              <a:gd name="connsiteY0" fmla="*/ 3238315 h 3622737"/>
              <a:gd name="connsiteX1" fmla="*/ 2006978 w 4502037"/>
              <a:gd name="connsiteY1" fmla="*/ 356665 h 3622737"/>
              <a:gd name="connsiteX2" fmla="*/ 4498947 w 4502037"/>
              <a:gd name="connsiteY2" fmla="*/ 108401 h 3622737"/>
              <a:gd name="connsiteX3" fmla="*/ 4496720 w 4502037"/>
              <a:gd name="connsiteY3" fmla="*/ 1193589 h 3622737"/>
              <a:gd name="connsiteX4" fmla="*/ 2470260 w 4502037"/>
              <a:gd name="connsiteY4" fmla="*/ 1298339 h 3622737"/>
              <a:gd name="connsiteX5" fmla="*/ 1023341 w 4502037"/>
              <a:gd name="connsiteY5" fmla="*/ 3622737 h 3622737"/>
              <a:gd name="connsiteX6" fmla="*/ 0 w 4502037"/>
              <a:gd name="connsiteY6" fmla="*/ 3238315 h 3622737"/>
              <a:gd name="connsiteX0" fmla="*/ 0 w 4502037"/>
              <a:gd name="connsiteY0" fmla="*/ 3238315 h 3238315"/>
              <a:gd name="connsiteX1" fmla="*/ 2006978 w 4502037"/>
              <a:gd name="connsiteY1" fmla="*/ 356665 h 3238315"/>
              <a:gd name="connsiteX2" fmla="*/ 4498947 w 4502037"/>
              <a:gd name="connsiteY2" fmla="*/ 108401 h 3238315"/>
              <a:gd name="connsiteX3" fmla="*/ 4496720 w 4502037"/>
              <a:gd name="connsiteY3" fmla="*/ 1193589 h 3238315"/>
              <a:gd name="connsiteX4" fmla="*/ 2470260 w 4502037"/>
              <a:gd name="connsiteY4" fmla="*/ 1298339 h 3238315"/>
              <a:gd name="connsiteX5" fmla="*/ 1056931 w 4502037"/>
              <a:gd name="connsiteY5" fmla="*/ 3234583 h 3238315"/>
              <a:gd name="connsiteX6" fmla="*/ 0 w 4502037"/>
              <a:gd name="connsiteY6" fmla="*/ 3238315 h 3238315"/>
              <a:gd name="connsiteX0" fmla="*/ 0 w 4502037"/>
              <a:gd name="connsiteY0" fmla="*/ 3238315 h 3238315"/>
              <a:gd name="connsiteX1" fmla="*/ 2006978 w 4502037"/>
              <a:gd name="connsiteY1" fmla="*/ 356665 h 3238315"/>
              <a:gd name="connsiteX2" fmla="*/ 4498947 w 4502037"/>
              <a:gd name="connsiteY2" fmla="*/ 108401 h 3238315"/>
              <a:gd name="connsiteX3" fmla="*/ 4496720 w 4502037"/>
              <a:gd name="connsiteY3" fmla="*/ 1193589 h 3238315"/>
              <a:gd name="connsiteX4" fmla="*/ 2470260 w 4502037"/>
              <a:gd name="connsiteY4" fmla="*/ 1298339 h 3238315"/>
              <a:gd name="connsiteX5" fmla="*/ 1056931 w 4502037"/>
              <a:gd name="connsiteY5" fmla="*/ 3234583 h 3238315"/>
              <a:gd name="connsiteX6" fmla="*/ 0 w 4502037"/>
              <a:gd name="connsiteY6" fmla="*/ 3238315 h 3238315"/>
              <a:gd name="connsiteX0" fmla="*/ 0 w 4502037"/>
              <a:gd name="connsiteY0" fmla="*/ 3238315 h 3238315"/>
              <a:gd name="connsiteX1" fmla="*/ 2006978 w 4502037"/>
              <a:gd name="connsiteY1" fmla="*/ 356665 h 3238315"/>
              <a:gd name="connsiteX2" fmla="*/ 4498947 w 4502037"/>
              <a:gd name="connsiteY2" fmla="*/ 108401 h 3238315"/>
              <a:gd name="connsiteX3" fmla="*/ 4496720 w 4502037"/>
              <a:gd name="connsiteY3" fmla="*/ 1193589 h 3238315"/>
              <a:gd name="connsiteX4" fmla="*/ 2470260 w 4502037"/>
              <a:gd name="connsiteY4" fmla="*/ 1298339 h 3238315"/>
              <a:gd name="connsiteX5" fmla="*/ 1056931 w 4502037"/>
              <a:gd name="connsiteY5" fmla="*/ 3234583 h 3238315"/>
              <a:gd name="connsiteX6" fmla="*/ 0 w 4502037"/>
              <a:gd name="connsiteY6" fmla="*/ 3238315 h 3238315"/>
              <a:gd name="connsiteX0" fmla="*/ 0 w 4502037"/>
              <a:gd name="connsiteY0" fmla="*/ 3238315 h 3238315"/>
              <a:gd name="connsiteX1" fmla="*/ 2006978 w 4502037"/>
              <a:gd name="connsiteY1" fmla="*/ 356665 h 3238315"/>
              <a:gd name="connsiteX2" fmla="*/ 4498947 w 4502037"/>
              <a:gd name="connsiteY2" fmla="*/ 108401 h 3238315"/>
              <a:gd name="connsiteX3" fmla="*/ 4496720 w 4502037"/>
              <a:gd name="connsiteY3" fmla="*/ 1193589 h 3238315"/>
              <a:gd name="connsiteX4" fmla="*/ 2470260 w 4502037"/>
              <a:gd name="connsiteY4" fmla="*/ 1298339 h 3238315"/>
              <a:gd name="connsiteX5" fmla="*/ 1056931 w 4502037"/>
              <a:gd name="connsiteY5" fmla="*/ 3234583 h 3238315"/>
              <a:gd name="connsiteX6" fmla="*/ 0 w 4502037"/>
              <a:gd name="connsiteY6" fmla="*/ 3238315 h 3238315"/>
              <a:gd name="connsiteX0" fmla="*/ 0 w 4502037"/>
              <a:gd name="connsiteY0" fmla="*/ 3242272 h 3242272"/>
              <a:gd name="connsiteX1" fmla="*/ 2006978 w 4502037"/>
              <a:gd name="connsiteY1" fmla="*/ 360622 h 3242272"/>
              <a:gd name="connsiteX2" fmla="*/ 4498947 w 4502037"/>
              <a:gd name="connsiteY2" fmla="*/ 112358 h 3242272"/>
              <a:gd name="connsiteX3" fmla="*/ 4496720 w 4502037"/>
              <a:gd name="connsiteY3" fmla="*/ 1197546 h 3242272"/>
              <a:gd name="connsiteX4" fmla="*/ 2470260 w 4502037"/>
              <a:gd name="connsiteY4" fmla="*/ 1302296 h 3242272"/>
              <a:gd name="connsiteX5" fmla="*/ 1056931 w 4502037"/>
              <a:gd name="connsiteY5" fmla="*/ 3238540 h 3242272"/>
              <a:gd name="connsiteX6" fmla="*/ 0 w 4502037"/>
              <a:gd name="connsiteY6" fmla="*/ 3242272 h 3242272"/>
              <a:gd name="connsiteX0" fmla="*/ 0 w 4502037"/>
              <a:gd name="connsiteY0" fmla="*/ 3231832 h 3231832"/>
              <a:gd name="connsiteX1" fmla="*/ 2006978 w 4502037"/>
              <a:gd name="connsiteY1" fmla="*/ 350182 h 3231832"/>
              <a:gd name="connsiteX2" fmla="*/ 4498947 w 4502037"/>
              <a:gd name="connsiteY2" fmla="*/ 101918 h 3231832"/>
              <a:gd name="connsiteX3" fmla="*/ 4496720 w 4502037"/>
              <a:gd name="connsiteY3" fmla="*/ 1187106 h 3231832"/>
              <a:gd name="connsiteX4" fmla="*/ 2470260 w 4502037"/>
              <a:gd name="connsiteY4" fmla="*/ 1291856 h 3231832"/>
              <a:gd name="connsiteX5" fmla="*/ 1056931 w 4502037"/>
              <a:gd name="connsiteY5" fmla="*/ 3228100 h 3231832"/>
              <a:gd name="connsiteX6" fmla="*/ 0 w 4502037"/>
              <a:gd name="connsiteY6" fmla="*/ 3231832 h 3231832"/>
              <a:gd name="connsiteX0" fmla="*/ 0 w 4502037"/>
              <a:gd name="connsiteY0" fmla="*/ 3235703 h 3235703"/>
              <a:gd name="connsiteX1" fmla="*/ 2006978 w 4502037"/>
              <a:gd name="connsiteY1" fmla="*/ 354053 h 3235703"/>
              <a:gd name="connsiteX2" fmla="*/ 4498947 w 4502037"/>
              <a:gd name="connsiteY2" fmla="*/ 105789 h 3235703"/>
              <a:gd name="connsiteX3" fmla="*/ 4496720 w 4502037"/>
              <a:gd name="connsiteY3" fmla="*/ 1190977 h 3235703"/>
              <a:gd name="connsiteX4" fmla="*/ 2470260 w 4502037"/>
              <a:gd name="connsiteY4" fmla="*/ 1295727 h 3235703"/>
              <a:gd name="connsiteX5" fmla="*/ 1056931 w 4502037"/>
              <a:gd name="connsiteY5" fmla="*/ 3231971 h 3235703"/>
              <a:gd name="connsiteX6" fmla="*/ 0 w 4502037"/>
              <a:gd name="connsiteY6" fmla="*/ 3235703 h 3235703"/>
              <a:gd name="connsiteX0" fmla="*/ 0 w 4502037"/>
              <a:gd name="connsiteY0" fmla="*/ 3235703 h 3235703"/>
              <a:gd name="connsiteX1" fmla="*/ 2006978 w 4502037"/>
              <a:gd name="connsiteY1" fmla="*/ 354053 h 3235703"/>
              <a:gd name="connsiteX2" fmla="*/ 4498947 w 4502037"/>
              <a:gd name="connsiteY2" fmla="*/ 105789 h 3235703"/>
              <a:gd name="connsiteX3" fmla="*/ 4496720 w 4502037"/>
              <a:gd name="connsiteY3" fmla="*/ 1190977 h 3235703"/>
              <a:gd name="connsiteX4" fmla="*/ 2470260 w 4502037"/>
              <a:gd name="connsiteY4" fmla="*/ 1295727 h 3235703"/>
              <a:gd name="connsiteX5" fmla="*/ 1056931 w 4502037"/>
              <a:gd name="connsiteY5" fmla="*/ 3231971 h 3235703"/>
              <a:gd name="connsiteX6" fmla="*/ 0 w 4502037"/>
              <a:gd name="connsiteY6" fmla="*/ 3235703 h 3235703"/>
              <a:gd name="connsiteX0" fmla="*/ 0 w 4502037"/>
              <a:gd name="connsiteY0" fmla="*/ 3223023 h 3223023"/>
              <a:gd name="connsiteX1" fmla="*/ 2006978 w 4502037"/>
              <a:gd name="connsiteY1" fmla="*/ 341373 h 3223023"/>
              <a:gd name="connsiteX2" fmla="*/ 4498947 w 4502037"/>
              <a:gd name="connsiteY2" fmla="*/ 93109 h 3223023"/>
              <a:gd name="connsiteX3" fmla="*/ 4496720 w 4502037"/>
              <a:gd name="connsiteY3" fmla="*/ 1178297 h 3223023"/>
              <a:gd name="connsiteX4" fmla="*/ 2470260 w 4502037"/>
              <a:gd name="connsiteY4" fmla="*/ 1283047 h 3223023"/>
              <a:gd name="connsiteX5" fmla="*/ 1056931 w 4502037"/>
              <a:gd name="connsiteY5" fmla="*/ 3219291 h 3223023"/>
              <a:gd name="connsiteX6" fmla="*/ 0 w 4502037"/>
              <a:gd name="connsiteY6" fmla="*/ 3223023 h 3223023"/>
              <a:gd name="connsiteX0" fmla="*/ 0 w 4502037"/>
              <a:gd name="connsiteY0" fmla="*/ 3254162 h 3254162"/>
              <a:gd name="connsiteX1" fmla="*/ 2006978 w 4502037"/>
              <a:gd name="connsiteY1" fmla="*/ 372512 h 3254162"/>
              <a:gd name="connsiteX2" fmla="*/ 4498947 w 4502037"/>
              <a:gd name="connsiteY2" fmla="*/ 124248 h 3254162"/>
              <a:gd name="connsiteX3" fmla="*/ 4496720 w 4502037"/>
              <a:gd name="connsiteY3" fmla="*/ 1209436 h 3254162"/>
              <a:gd name="connsiteX4" fmla="*/ 2470260 w 4502037"/>
              <a:gd name="connsiteY4" fmla="*/ 1314186 h 3254162"/>
              <a:gd name="connsiteX5" fmla="*/ 1056931 w 4502037"/>
              <a:gd name="connsiteY5" fmla="*/ 3250430 h 3254162"/>
              <a:gd name="connsiteX6" fmla="*/ 0 w 4502037"/>
              <a:gd name="connsiteY6" fmla="*/ 3254162 h 3254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02037" h="3254162">
                <a:moveTo>
                  <a:pt x="0" y="3254162"/>
                </a:moveTo>
                <a:cubicBezTo>
                  <a:pt x="179147" y="1628146"/>
                  <a:pt x="1130259" y="849376"/>
                  <a:pt x="2006978" y="372512"/>
                </a:cubicBezTo>
                <a:cubicBezTo>
                  <a:pt x="2883697" y="-104352"/>
                  <a:pt x="3922548" y="-46728"/>
                  <a:pt x="4498947" y="124248"/>
                </a:cubicBezTo>
                <a:cubicBezTo>
                  <a:pt x="4501937" y="602921"/>
                  <a:pt x="4504927" y="880052"/>
                  <a:pt x="4496720" y="1209436"/>
                </a:cubicBezTo>
                <a:cubicBezTo>
                  <a:pt x="4181176" y="1054861"/>
                  <a:pt x="3344873" y="893316"/>
                  <a:pt x="2470260" y="1314186"/>
                </a:cubicBezTo>
                <a:cubicBezTo>
                  <a:pt x="1618039" y="1701465"/>
                  <a:pt x="1187559" y="2498352"/>
                  <a:pt x="1056931" y="3250430"/>
                </a:cubicBezTo>
                <a:lnTo>
                  <a:pt x="0" y="3254162"/>
                </a:lnTo>
                <a:close/>
              </a:path>
            </a:pathLst>
          </a:custGeom>
          <a:solidFill>
            <a:schemeClr val="accent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0368CDD-7FE2-4B8B-A270-2920D01F4276}"/>
              </a:ext>
            </a:extLst>
          </p:cNvPr>
          <p:cNvSpPr/>
          <p:nvPr userDrawn="1"/>
        </p:nvSpPr>
        <p:spPr>
          <a:xfrm>
            <a:off x="3517107" y="-51330"/>
            <a:ext cx="4036864" cy="3572356"/>
          </a:xfrm>
          <a:prstGeom prst="ellipse">
            <a:avLst/>
          </a:prstGeom>
          <a:gradFill flip="none" rotWithShape="1">
            <a:gsLst>
              <a:gs pos="26000">
                <a:schemeClr val="bg1"/>
              </a:gs>
              <a:gs pos="72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6D4B1A93-46A9-4C4A-9718-B335737D53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3350490"/>
            <a:ext cx="5486400" cy="124192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defRPr sz="40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r>
              <a:rPr lang="en-US" dirty="0"/>
              <a:t>Presentation Title (Up to Two Lines)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C96AEF38-483B-4F9E-A333-C39DC125C7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275" y="4613011"/>
            <a:ext cx="5486400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800">
                <a:solidFill>
                  <a:schemeClr val="bg1">
                    <a:lumMod val="50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Presenter Name(s), Date or Subtitle</a:t>
            </a:r>
          </a:p>
        </p:txBody>
      </p:sp>
    </p:spTree>
    <p:extLst>
      <p:ext uri="{BB962C8B-B14F-4D97-AF65-F5344CB8AC3E}">
        <p14:creationId xmlns:p14="http://schemas.microsoft.com/office/powerpoint/2010/main" val="8342552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E132DAB-6C62-4C35-BA40-9BCA6B1A24D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5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541453C-ADCC-40DB-AC8B-97013AC5345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5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5">
                    <a:lumMod val="50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290375939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C10F004-F401-4767-A5FB-6297805C25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5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39F321-50EA-4863-8CCF-0BA2DE575D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5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5">
                    <a:lumMod val="50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104079408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2D54A27-FEC1-4434-ABE1-5FC0600356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5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B214F47-F67F-4F5D-A300-A1BA5491F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5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5">
                    <a:lumMod val="50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74676664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02217B-9D07-499E-ABD0-F4E3443B56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5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CC195B-6ABF-4C43-8656-09DE9B572F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5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5">
                    <a:lumMod val="50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179143192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BB56823-28C4-47EF-9B1C-297C56B77A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5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6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A6EF9FD-A969-415E-ADBA-BB6C42E309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5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267422000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CBD8CB6-9FAC-45E8-B43B-ED1353BF77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5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E0E5314-05E3-4D4A-A34A-9BC29085E2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5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5">
                    <a:lumMod val="50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26796308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F0BBC9B-C8FD-4F93-AB7F-06C683DB9745}"/>
              </a:ext>
            </a:extLst>
          </p:cNvPr>
          <p:cNvSpPr/>
          <p:nvPr userDrawn="1"/>
        </p:nvSpPr>
        <p:spPr>
          <a:xfrm>
            <a:off x="228600" y="914403"/>
            <a:ext cx="11734800" cy="1471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CBDAF9-7B21-4E9B-B300-24B835F48B99}"/>
              </a:ext>
            </a:extLst>
          </p:cNvPr>
          <p:cNvSpPr/>
          <p:nvPr userDrawn="1"/>
        </p:nvSpPr>
        <p:spPr>
          <a:xfrm>
            <a:off x="3" y="1158240"/>
            <a:ext cx="480252" cy="4572000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A987C4A7-CC40-493A-8D38-AED55240A2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253" y="1158239"/>
            <a:ext cx="11407043" cy="4572000"/>
          </a:xfrm>
          <a:prstGeom prst="rect">
            <a:avLst/>
          </a:prstGeom>
          <a:solidFill>
            <a:srgbClr val="EAECEC"/>
          </a:solidFill>
        </p:spPr>
        <p:txBody>
          <a:bodyPr lIns="182880" tIns="91440" rIns="182880"/>
          <a:lstStyle>
            <a:lvl1pPr marL="342874" marR="0" indent="-342874" algn="l" defTabSz="91433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6747"/>
              </a:buClr>
              <a:buSzPct val="110000"/>
              <a:buFont typeface="Arial" panose="020B0604020202020204" pitchFamily="34" charset="0"/>
              <a:buChar char="•"/>
              <a:tabLst/>
              <a:defRPr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</a:lstStyle>
          <a:p>
            <a:pPr marL="342874" marR="0" lvl="0" indent="-342874" algn="l" defTabSz="91433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6747"/>
              </a:buClr>
              <a:buSzPct val="110000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Poppins Light" panose="02000000000000000000" pitchFamily="2" charset="0"/>
              </a:rPr>
              <a:t>Start Bullet List Here</a:t>
            </a:r>
          </a:p>
          <a:p>
            <a:pPr marL="342874" marR="0" lvl="0" indent="-342874" algn="l" defTabSz="914332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6747"/>
              </a:buClr>
              <a:buSzPct val="110000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Poppins Light" panose="02000000000000000000" pitchFamily="2" charset="0"/>
              <a:ea typeface="+mn-ea"/>
              <a:cs typeface="Poppins Ligh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69E52E-699C-424A-81EF-0F3A699A9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oday or Agenda</a:t>
            </a:r>
          </a:p>
        </p:txBody>
      </p:sp>
    </p:spTree>
    <p:extLst>
      <p:ext uri="{BB962C8B-B14F-4D97-AF65-F5344CB8AC3E}">
        <p14:creationId xmlns:p14="http://schemas.microsoft.com/office/powerpoint/2010/main" val="32724659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1" y="1"/>
            <a:ext cx="12189631" cy="61817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2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53555C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2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115591888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443" y="1333511"/>
            <a:ext cx="11247119" cy="40624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BE33C284-E8EC-4FF5-9E8E-D808CFA12F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156279141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 Overview: 3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0485" y="3108785"/>
            <a:ext cx="3474720" cy="257537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1800"/>
            </a:lvl2pPr>
            <a:lvl3pPr>
              <a:spcBef>
                <a:spcPts val="0"/>
              </a:spcBef>
              <a:spcAft>
                <a:spcPts val="400"/>
              </a:spcAft>
              <a:defRPr sz="1800"/>
            </a:lvl3pPr>
            <a:lvl4pPr>
              <a:spcBef>
                <a:spcPts val="0"/>
              </a:spcBef>
              <a:spcAft>
                <a:spcPts val="400"/>
              </a:spcAft>
              <a:defRPr sz="1800"/>
            </a:lvl4pPr>
            <a:lvl5pPr>
              <a:spcBef>
                <a:spcPts val="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609611" y="2577647"/>
            <a:ext cx="3482975" cy="423864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6647"/>
                </a:solidFill>
                <a:latin typeface="Poppins Medium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Short Header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6"/>
          </p:nvPr>
        </p:nvSpPr>
        <p:spPr>
          <a:xfrm>
            <a:off x="8122192" y="3085645"/>
            <a:ext cx="3474720" cy="257537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1800"/>
            </a:lvl2pPr>
            <a:lvl3pPr>
              <a:spcBef>
                <a:spcPts val="0"/>
              </a:spcBef>
              <a:spcAft>
                <a:spcPts val="400"/>
              </a:spcAft>
              <a:defRPr sz="1800"/>
            </a:lvl3pPr>
            <a:lvl4pPr>
              <a:spcBef>
                <a:spcPts val="0"/>
              </a:spcBef>
              <a:spcAft>
                <a:spcPts val="400"/>
              </a:spcAft>
              <a:defRPr sz="1800"/>
            </a:lvl4pPr>
            <a:lvl5pPr>
              <a:spcBef>
                <a:spcPts val="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8111317" y="2577647"/>
            <a:ext cx="3482975" cy="423864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B5E2"/>
                </a:solidFill>
                <a:latin typeface="Poppins Medium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Short Header 3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18"/>
          </p:nvPr>
        </p:nvSpPr>
        <p:spPr>
          <a:xfrm>
            <a:off x="4398553" y="3108785"/>
            <a:ext cx="3474720" cy="257537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1800"/>
            </a:lvl2pPr>
            <a:lvl3pPr>
              <a:spcBef>
                <a:spcPts val="0"/>
              </a:spcBef>
              <a:spcAft>
                <a:spcPts val="400"/>
              </a:spcAft>
              <a:defRPr sz="1800"/>
            </a:lvl3pPr>
            <a:lvl4pPr>
              <a:spcBef>
                <a:spcPts val="0"/>
              </a:spcBef>
              <a:spcAft>
                <a:spcPts val="400"/>
              </a:spcAft>
              <a:defRPr sz="1800"/>
            </a:lvl4pPr>
            <a:lvl5pPr>
              <a:spcBef>
                <a:spcPts val="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4387678" y="2577647"/>
            <a:ext cx="3482975" cy="423864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77BC1F"/>
                </a:solidFill>
                <a:latin typeface="Poppins Medium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Short Header 2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D3ADBBDE-38DC-4DE1-8EBF-2A7516318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87365023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f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A6ED687-D244-46C7-A6AE-85923E6F2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49513455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woTone Vert - Thir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38ABC9-0551-48AC-BB67-B30D4705A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202377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woTone Horizontal Thir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2384AA-08E5-4BFE-8C9E-73071943C4C3}"/>
              </a:ext>
            </a:extLst>
          </p:cNvPr>
          <p:cNvCxnSpPr>
            <a:cxnSpLocks/>
          </p:cNvCxnSpPr>
          <p:nvPr userDrawn="1"/>
        </p:nvCxnSpPr>
        <p:spPr>
          <a:xfrm>
            <a:off x="495300" y="1006824"/>
            <a:ext cx="1120140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62E7627-CC7F-452F-B79B-653D257C1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137434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woTone Horizontal Half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2384AA-08E5-4BFE-8C9E-73071943C4C3}"/>
              </a:ext>
            </a:extLst>
          </p:cNvPr>
          <p:cNvCxnSpPr>
            <a:cxnSpLocks/>
          </p:cNvCxnSpPr>
          <p:nvPr userDrawn="1"/>
        </p:nvCxnSpPr>
        <p:spPr>
          <a:xfrm>
            <a:off x="495300" y="1006824"/>
            <a:ext cx="1120140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88EC8CA-59F9-48AE-9CDC-D7D04A4962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740598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woTone Horizontal TwoThird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2384AA-08E5-4BFE-8C9E-73071943C4C3}"/>
              </a:ext>
            </a:extLst>
          </p:cNvPr>
          <p:cNvCxnSpPr>
            <a:cxnSpLocks/>
          </p:cNvCxnSpPr>
          <p:nvPr userDrawn="1"/>
        </p:nvCxnSpPr>
        <p:spPr>
          <a:xfrm>
            <a:off x="495300" y="1006824"/>
            <a:ext cx="1120140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DE4E0B0-1F61-478A-8249-A3E8C4B4DA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795978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yment Che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53888" y="2090225"/>
            <a:ext cx="2657209" cy="3272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rgbClr val="77BC1F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18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800" b="1"/>
            </a:lvl4pPr>
            <a:lvl5pPr marL="1828664" indent="0">
              <a:buNone/>
              <a:defRPr sz="1800" b="1"/>
            </a:lvl5pPr>
          </a:lstStyle>
          <a:p>
            <a:pPr lvl="0"/>
            <a:r>
              <a:rPr lang="en-US" dirty="0"/>
              <a:t>Type 1 Payments</a:t>
            </a: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609601" y="3026352"/>
            <a:ext cx="10987315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53547" y="2417763"/>
            <a:ext cx="2657476" cy="60801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400"/>
            </a:lvl3pPr>
            <a:lvl4pPr marL="1371498" indent="0">
              <a:buNone/>
              <a:defRPr sz="1400"/>
            </a:lvl4pPr>
            <a:lvl5pPr marL="1828664" indent="0">
              <a:buNone/>
              <a:defRPr sz="1400"/>
            </a:lvl5pPr>
          </a:lstStyle>
          <a:p>
            <a:pPr lvl="0"/>
            <a:r>
              <a:rPr lang="en-US" dirty="0"/>
              <a:t>Insert a short sentence</a:t>
            </a:r>
            <a:br>
              <a:rPr lang="en-US" dirty="0"/>
            </a:br>
            <a:r>
              <a:rPr lang="en-US" dirty="0"/>
              <a:t>of descriptive text her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53820" y="3313116"/>
            <a:ext cx="2657209" cy="3272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rgbClr val="006647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18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800" b="1"/>
            </a:lvl4pPr>
            <a:lvl5pPr marL="1828664" indent="0">
              <a:buNone/>
              <a:defRPr sz="1800" b="1"/>
            </a:lvl5pPr>
          </a:lstStyle>
          <a:p>
            <a:pPr lvl="0"/>
            <a:r>
              <a:rPr lang="en-US" dirty="0"/>
              <a:t>Type 1 Payments</a:t>
            </a:r>
          </a:p>
        </p:txBody>
      </p:sp>
      <p:cxnSp>
        <p:nvCxnSpPr>
          <p:cNvPr id="14" name="Straight Connector 13"/>
          <p:cNvCxnSpPr>
            <a:cxnSpLocks/>
          </p:cNvCxnSpPr>
          <p:nvPr/>
        </p:nvCxnSpPr>
        <p:spPr>
          <a:xfrm>
            <a:off x="609533" y="4249244"/>
            <a:ext cx="10987315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53483" y="3640655"/>
            <a:ext cx="2657476" cy="60801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400"/>
            </a:lvl3pPr>
            <a:lvl4pPr marL="1371498" indent="0">
              <a:buNone/>
              <a:defRPr sz="1400"/>
            </a:lvl4pPr>
            <a:lvl5pPr marL="1828664" indent="0">
              <a:buNone/>
              <a:defRPr sz="1400"/>
            </a:lvl5pPr>
          </a:lstStyle>
          <a:p>
            <a:pPr lvl="0"/>
            <a:r>
              <a:rPr lang="en-US" dirty="0"/>
              <a:t>Insert a short sentence</a:t>
            </a:r>
            <a:br>
              <a:rPr lang="en-US" dirty="0"/>
            </a:br>
            <a:r>
              <a:rPr lang="en-US" dirty="0"/>
              <a:t>of descriptive text he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53752" y="4536007"/>
            <a:ext cx="2657209" cy="3272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rgbClr val="00B5E2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18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800" b="1"/>
            </a:lvl4pPr>
            <a:lvl5pPr marL="1828664" indent="0">
              <a:buNone/>
              <a:defRPr sz="1800" b="1"/>
            </a:lvl5pPr>
          </a:lstStyle>
          <a:p>
            <a:pPr lvl="0"/>
            <a:r>
              <a:rPr lang="en-US" dirty="0"/>
              <a:t>Type 1 Payments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609469" y="5472135"/>
            <a:ext cx="10987315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53414" y="4863546"/>
            <a:ext cx="2657476" cy="60801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400"/>
            </a:lvl3pPr>
            <a:lvl4pPr marL="1371498" indent="0">
              <a:buNone/>
              <a:defRPr sz="1400"/>
            </a:lvl4pPr>
            <a:lvl5pPr marL="1828664" indent="0">
              <a:buNone/>
              <a:defRPr sz="1400"/>
            </a:lvl5pPr>
          </a:lstStyle>
          <a:p>
            <a:pPr lvl="0"/>
            <a:r>
              <a:rPr lang="en-US" dirty="0"/>
              <a:t>Insert a short sentence</a:t>
            </a:r>
            <a:br>
              <a:rPr lang="en-US" dirty="0"/>
            </a:br>
            <a:r>
              <a:rPr lang="en-US" dirty="0"/>
              <a:t>of descriptive text her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7F399AB9-FE6D-4321-9620-9C1628882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Payments Checkup Header</a:t>
            </a:r>
          </a:p>
        </p:txBody>
      </p:sp>
    </p:spTree>
    <p:extLst>
      <p:ext uri="{BB962C8B-B14F-4D97-AF65-F5344CB8AC3E}">
        <p14:creationId xmlns:p14="http://schemas.microsoft.com/office/powerpoint/2010/main" val="334609895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09603" y="2292352"/>
            <a:ext cx="5194300" cy="376555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402391" y="2292352"/>
            <a:ext cx="5194300" cy="376555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3" y="1755784"/>
            <a:ext cx="5194300" cy="450977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6647"/>
                </a:solidFill>
              </a:defRPr>
            </a:lvl1pPr>
            <a:lvl2pPr marL="457167" indent="0">
              <a:buNone/>
              <a:defRPr b="1">
                <a:solidFill>
                  <a:srgbClr val="77BC1F"/>
                </a:solidFill>
              </a:defRPr>
            </a:lvl2pPr>
            <a:lvl3pPr marL="914332" indent="0">
              <a:buNone/>
              <a:defRPr b="1">
                <a:solidFill>
                  <a:srgbClr val="77BC1F"/>
                </a:solidFill>
              </a:defRPr>
            </a:lvl3pPr>
            <a:lvl4pPr marL="1371498" indent="0">
              <a:buNone/>
              <a:defRPr b="1">
                <a:solidFill>
                  <a:srgbClr val="77BC1F"/>
                </a:solidFill>
              </a:defRPr>
            </a:lvl4pPr>
            <a:lvl5pPr marL="1828664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402391" y="1755784"/>
            <a:ext cx="5194300" cy="450977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6647"/>
                </a:solidFill>
              </a:defRPr>
            </a:lvl1pPr>
            <a:lvl2pPr marL="457167" indent="0">
              <a:buNone/>
              <a:defRPr b="1">
                <a:solidFill>
                  <a:srgbClr val="77BC1F"/>
                </a:solidFill>
              </a:defRPr>
            </a:lvl2pPr>
            <a:lvl3pPr marL="914332" indent="0">
              <a:buNone/>
              <a:defRPr b="1">
                <a:solidFill>
                  <a:srgbClr val="77BC1F"/>
                </a:solidFill>
              </a:defRPr>
            </a:lvl3pPr>
            <a:lvl4pPr marL="1371498" indent="0">
              <a:buNone/>
              <a:defRPr b="1">
                <a:solidFill>
                  <a:srgbClr val="77BC1F"/>
                </a:solidFill>
              </a:defRPr>
            </a:lvl4pPr>
            <a:lvl5pPr marL="1828664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BF2ADDC-C7C5-47B4-B252-F7D53BA75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278612530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egment-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6" y="1981200"/>
            <a:ext cx="3714751" cy="569603"/>
          </a:xfrm>
          <a:prstGeom prst="rect">
            <a:avLst/>
          </a:prstGeom>
        </p:spPr>
        <p:txBody>
          <a:bodyPr anchor="b" anchorCtr="0"/>
          <a:lstStyle>
            <a:lvl1pPr marL="0" indent="0" algn="r">
              <a:buNone/>
              <a:defRPr sz="2200" b="1">
                <a:solidFill>
                  <a:srgbClr val="77BC1F"/>
                </a:solidFill>
              </a:defRPr>
            </a:lvl1pPr>
          </a:lstStyle>
          <a:p>
            <a:pPr lvl="0"/>
            <a:r>
              <a:rPr lang="en-US" dirty="0"/>
              <a:t>Strategy 01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6" y="2611633"/>
            <a:ext cx="3714751" cy="1123319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6" y="4087371"/>
            <a:ext cx="3714751" cy="578263"/>
          </a:xfrm>
          <a:prstGeom prst="rect">
            <a:avLst/>
          </a:prstGeom>
        </p:spPr>
        <p:txBody>
          <a:bodyPr anchor="b" anchorCtr="0"/>
          <a:lstStyle>
            <a:lvl1pPr marL="0" indent="0" algn="r">
              <a:buNone/>
              <a:defRPr sz="2200" b="1">
                <a:solidFill>
                  <a:srgbClr val="979EA1"/>
                </a:solidFill>
              </a:defRPr>
            </a:lvl1pPr>
          </a:lstStyle>
          <a:p>
            <a:pPr lvl="0"/>
            <a:r>
              <a:rPr lang="en-US" dirty="0"/>
              <a:t>Strategy 02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6" y="4726453"/>
            <a:ext cx="3714751" cy="1151616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7867657" y="1932433"/>
            <a:ext cx="3702559" cy="569603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Strategy 03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7867657" y="2562865"/>
            <a:ext cx="3702559" cy="1123319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7867657" y="4038605"/>
            <a:ext cx="3702559" cy="578263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B5E2"/>
                </a:solidFill>
              </a:defRPr>
            </a:lvl1pPr>
          </a:lstStyle>
          <a:p>
            <a:pPr lvl="0"/>
            <a:r>
              <a:rPr lang="en-US" dirty="0"/>
              <a:t>Strategy 04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67657" y="4677687"/>
            <a:ext cx="3702559" cy="1151616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463986" y="2254385"/>
            <a:ext cx="3241305" cy="3251067"/>
            <a:chOff x="4445794" y="2242036"/>
            <a:chExt cx="2985293" cy="2994283"/>
          </a:xfrm>
        </p:grpSpPr>
        <p:pic>
          <p:nvPicPr>
            <p:cNvPr id="2" name="Graphic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445794" y="2242036"/>
              <a:ext cx="1657350" cy="1476375"/>
            </a:xfrm>
            <a:prstGeom prst="rect">
              <a:avLst/>
            </a:prstGeom>
          </p:spPr>
        </p:pic>
        <p:pic>
          <p:nvPicPr>
            <p:cNvPr id="6" name="Graphic 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54712" y="2249606"/>
              <a:ext cx="1476375" cy="1657350"/>
            </a:xfrm>
            <a:prstGeom prst="rect">
              <a:avLst/>
            </a:prstGeom>
          </p:spPr>
        </p:pic>
        <p:pic>
          <p:nvPicPr>
            <p:cNvPr id="22" name="Graphic 2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73737" y="3759944"/>
              <a:ext cx="1657350" cy="1476375"/>
            </a:xfrm>
            <a:prstGeom prst="rect">
              <a:avLst/>
            </a:prstGeom>
          </p:spPr>
        </p:pic>
        <p:pic>
          <p:nvPicPr>
            <p:cNvPr id="23" name="Graphic 2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445794" y="3565146"/>
              <a:ext cx="1476375" cy="1657350"/>
            </a:xfrm>
            <a:prstGeom prst="rect">
              <a:avLst/>
            </a:prstGeom>
          </p:spPr>
        </p:pic>
      </p:grp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544146B7-0804-4432-ABCB-F40AD53A3C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491657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9" y="1"/>
            <a:ext cx="12189631" cy="6219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2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979EA1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2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188161111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egment-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210661" y="2111561"/>
            <a:ext cx="5933131" cy="354923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77BC1F"/>
                </a:solidFill>
              </a:defRPr>
            </a:lvl1pPr>
          </a:lstStyle>
          <a:p>
            <a:pPr lvl="0"/>
            <a:r>
              <a:rPr lang="en-US" dirty="0"/>
              <a:t>Insert Header 01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210661" y="2524257"/>
            <a:ext cx="5933131" cy="656704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grpSp>
        <p:nvGrpSpPr>
          <p:cNvPr id="26" name="Group 25"/>
          <p:cNvGrpSpPr/>
          <p:nvPr/>
        </p:nvGrpSpPr>
        <p:grpSpPr>
          <a:xfrm flipH="1">
            <a:off x="1008654" y="2111565"/>
            <a:ext cx="3801177" cy="3811101"/>
            <a:chOff x="4375944" y="2384936"/>
            <a:chExt cx="3446970" cy="3459616"/>
          </a:xfrm>
        </p:grpSpPr>
        <p:pic>
          <p:nvPicPr>
            <p:cNvPr id="23" name="Graphic 2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75944" y="3215652"/>
              <a:ext cx="1714500" cy="2628900"/>
            </a:xfrm>
            <a:prstGeom prst="rect">
              <a:avLst/>
            </a:prstGeom>
          </p:spPr>
        </p:pic>
        <p:pic>
          <p:nvPicPr>
            <p:cNvPr id="24" name="Graphic 2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21753" y="2384936"/>
              <a:ext cx="2943225" cy="1190625"/>
            </a:xfrm>
            <a:prstGeom prst="rect">
              <a:avLst/>
            </a:prstGeom>
          </p:spPr>
        </p:pic>
        <p:pic>
          <p:nvPicPr>
            <p:cNvPr id="25" name="Graphic 2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98864" y="3272802"/>
              <a:ext cx="1924050" cy="2571750"/>
            </a:xfrm>
            <a:prstGeom prst="rect">
              <a:avLst/>
            </a:prstGeom>
          </p:spPr>
        </p:pic>
      </p:grpSp>
      <p:sp>
        <p:nvSpPr>
          <p:cNvPr id="2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5210661" y="3469216"/>
            <a:ext cx="5933131" cy="367487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Header 02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210661" y="3894479"/>
            <a:ext cx="5933131" cy="656704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210661" y="4857756"/>
            <a:ext cx="5933131" cy="341909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B5E2"/>
                </a:solidFill>
              </a:defRPr>
            </a:lvl1pPr>
          </a:lstStyle>
          <a:p>
            <a:pPr lvl="0"/>
            <a:r>
              <a:rPr lang="en-US" dirty="0"/>
              <a:t>Insert Header 03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210661" y="5257435"/>
            <a:ext cx="5933131" cy="656704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 hasCustomPrompt="1"/>
          </p:nvPr>
        </p:nvSpPr>
        <p:spPr>
          <a:xfrm rot="15727631">
            <a:off x="1412844" y="2565592"/>
            <a:ext cx="2893465" cy="2926229"/>
          </a:xfrm>
          <a:prstGeom prst="rect">
            <a:avLst/>
          </a:prstGeom>
        </p:spPr>
        <p:txBody>
          <a:bodyPr>
            <a:prstTxWarp prst="textCircle">
              <a:avLst>
                <a:gd name="adj" fmla="val 18328259"/>
              </a:avLst>
            </a:prstTxWarp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  Header01</a:t>
            </a:r>
          </a:p>
        </p:txBody>
      </p:sp>
      <p:sp>
        <p:nvSpPr>
          <p:cNvPr id="36" name="Content Placeholder 33"/>
          <p:cNvSpPr>
            <a:spLocks noGrp="1"/>
          </p:cNvSpPr>
          <p:nvPr>
            <p:ph sz="quarter" idx="25" hasCustomPrompt="1"/>
          </p:nvPr>
        </p:nvSpPr>
        <p:spPr>
          <a:xfrm rot="1424131">
            <a:off x="1452126" y="2531629"/>
            <a:ext cx="2893465" cy="2926231"/>
          </a:xfrm>
          <a:prstGeom prst="rect">
            <a:avLst/>
          </a:prstGeom>
        </p:spPr>
        <p:txBody>
          <a:bodyPr>
            <a:prstTxWarp prst="textCircle">
              <a:avLst>
                <a:gd name="adj" fmla="val 18328259"/>
              </a:avLst>
            </a:prstTxWarp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  Header03</a:t>
            </a:r>
          </a:p>
        </p:txBody>
      </p:sp>
      <p:sp>
        <p:nvSpPr>
          <p:cNvPr id="37" name="Content Placeholder 33"/>
          <p:cNvSpPr>
            <a:spLocks noGrp="1"/>
          </p:cNvSpPr>
          <p:nvPr>
            <p:ph sz="quarter" idx="26" hasCustomPrompt="1"/>
          </p:nvPr>
        </p:nvSpPr>
        <p:spPr>
          <a:xfrm rot="8351213">
            <a:off x="1486186" y="2575701"/>
            <a:ext cx="2893465" cy="2926231"/>
          </a:xfrm>
          <a:prstGeom prst="rect">
            <a:avLst/>
          </a:prstGeom>
        </p:spPr>
        <p:txBody>
          <a:bodyPr>
            <a:prstTxWarp prst="textCircle">
              <a:avLst>
                <a:gd name="adj" fmla="val 18328259"/>
              </a:avLst>
            </a:prstTxWarp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  Header02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6F97774B-7CFC-48E2-9389-B4F3DAB14B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134759910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09600" y="2344967"/>
            <a:ext cx="6047232" cy="371452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2000"/>
            </a:lvl1pPr>
            <a:lvl2pPr>
              <a:lnSpc>
                <a:spcPct val="100000"/>
              </a:lnSpc>
              <a:spcAft>
                <a:spcPts val="400"/>
              </a:spcAft>
              <a:defRPr sz="1800"/>
            </a:lvl2pPr>
            <a:lvl3pPr>
              <a:lnSpc>
                <a:spcPct val="100000"/>
              </a:lnSpc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Aft>
                <a:spcPts val="400"/>
              </a:spcAft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3" y="1905008"/>
            <a:ext cx="6046788" cy="349377"/>
          </a:xfrm>
          <a:prstGeom prst="rect">
            <a:avLst/>
          </a:prstGeom>
        </p:spPr>
        <p:txBody>
          <a:bodyPr anchor="b" anchorCtr="0"/>
          <a:lstStyle>
            <a:lvl1pPr marL="0" indent="0">
              <a:buNone/>
              <a:defRPr sz="2400" b="0">
                <a:solidFill>
                  <a:srgbClr val="77BC1F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  <a:lvl2pPr marL="457167" indent="0">
              <a:buNone/>
              <a:defRPr b="1">
                <a:solidFill>
                  <a:srgbClr val="77BC1F"/>
                </a:solidFill>
              </a:defRPr>
            </a:lvl2pPr>
            <a:lvl3pPr marL="914332" indent="0">
              <a:buNone/>
              <a:defRPr b="1">
                <a:solidFill>
                  <a:srgbClr val="77BC1F"/>
                </a:solidFill>
              </a:defRPr>
            </a:lvl3pPr>
            <a:lvl4pPr marL="1371498" indent="0">
              <a:buNone/>
              <a:defRPr b="1">
                <a:solidFill>
                  <a:srgbClr val="77BC1F"/>
                </a:solidFill>
              </a:defRPr>
            </a:lvl4pPr>
            <a:lvl5pPr marL="1828664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 hasCustomPrompt="1"/>
          </p:nvPr>
        </p:nvSpPr>
        <p:spPr>
          <a:xfrm>
            <a:off x="6937373" y="1905000"/>
            <a:ext cx="4659315" cy="415448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rgbClr val="979EA1"/>
                </a:solidFill>
              </a:defRPr>
            </a:lvl1pPr>
          </a:lstStyle>
          <a:p>
            <a:pPr lvl="0"/>
            <a:r>
              <a:rPr lang="en-US" dirty="0"/>
              <a:t>Insert chart or picture or other content her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F7D5F030-F74F-467E-A4A5-8F2A1C28F7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269551260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s/Next Step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89100" y="3108785"/>
            <a:ext cx="2540000" cy="257537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1689237" y="2019301"/>
            <a:ext cx="2537035" cy="982211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90000"/>
              </a:lnSpc>
              <a:buNone/>
              <a:defRPr sz="2200" b="0">
                <a:solidFill>
                  <a:srgbClr val="006647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Insert Program Header 1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half" idx="16"/>
          </p:nvPr>
        </p:nvSpPr>
        <p:spPr>
          <a:xfrm>
            <a:off x="9133335" y="3156745"/>
            <a:ext cx="2463580" cy="257537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9133577" y="2067257"/>
            <a:ext cx="2460707" cy="982211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90000"/>
              </a:lnSpc>
              <a:buNone/>
              <a:defRPr sz="2200" b="0">
                <a:solidFill>
                  <a:srgbClr val="00B5E2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Insert Program Header 1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sz="half" idx="18"/>
          </p:nvPr>
        </p:nvSpPr>
        <p:spPr>
          <a:xfrm>
            <a:off x="5463035" y="3156745"/>
            <a:ext cx="2474468" cy="257537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5463169" y="2067257"/>
            <a:ext cx="2471579" cy="982211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90000"/>
              </a:lnSpc>
              <a:buNone/>
              <a:defRPr sz="2200" b="0">
                <a:solidFill>
                  <a:srgbClr val="77BC1F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Insert Program Header 1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6BE4B77-B777-4EC0-8C72-31BF5681CF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142713151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s/Next Step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17872" y="3319954"/>
            <a:ext cx="2540000" cy="286220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617873" y="2558365"/>
            <a:ext cx="2537035" cy="696903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0">
                <a:solidFill>
                  <a:srgbClr val="006647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Name Goal 1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half" idx="16" hasCustomPrompt="1"/>
          </p:nvPr>
        </p:nvSpPr>
        <p:spPr>
          <a:xfrm>
            <a:off x="6328799" y="3319961"/>
            <a:ext cx="2463580" cy="288559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35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6331672" y="2558365"/>
            <a:ext cx="2460707" cy="696903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0">
                <a:solidFill>
                  <a:srgbClr val="979EA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Name Goal 3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3516711" y="3319955"/>
            <a:ext cx="2474468" cy="288559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39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3519601" y="2558365"/>
            <a:ext cx="2471579" cy="696903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0">
                <a:solidFill>
                  <a:srgbClr val="77BC1F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Name Goal 2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20" hasCustomPrompt="1"/>
          </p:nvPr>
        </p:nvSpPr>
        <p:spPr>
          <a:xfrm>
            <a:off x="9130703" y="3319961"/>
            <a:ext cx="2463580" cy="288559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1" hasCustomPrompt="1"/>
          </p:nvPr>
        </p:nvSpPr>
        <p:spPr>
          <a:xfrm>
            <a:off x="9133577" y="2558365"/>
            <a:ext cx="2460707" cy="696903"/>
          </a:xfrm>
          <a:prstGeom prst="rect">
            <a:avLst/>
          </a:prstGeo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0">
                <a:solidFill>
                  <a:srgbClr val="00B5E2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167" indent="0">
              <a:buNone/>
              <a:defRPr sz="2400"/>
            </a:lvl2pPr>
            <a:lvl3pPr marL="914332" indent="0">
              <a:buNone/>
              <a:defRPr sz="2400"/>
            </a:lvl3pPr>
            <a:lvl4pPr marL="1371498" indent="0">
              <a:buNone/>
              <a:defRPr sz="2400"/>
            </a:lvl4pPr>
            <a:lvl5pPr marL="1828664" indent="0">
              <a:buNone/>
              <a:defRPr sz="2400"/>
            </a:lvl5pPr>
          </a:lstStyle>
          <a:p>
            <a:pPr lvl="0"/>
            <a:r>
              <a:rPr lang="en-US" dirty="0"/>
              <a:t>Name Goal 3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F2C27-F299-43F4-BD46-735676A1D0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229910099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s: 4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21"/>
          <p:cNvSpPr>
            <a:spLocks noGrp="1"/>
          </p:cNvSpPr>
          <p:nvPr>
            <p:ph sz="quarter" idx="17" hasCustomPrompt="1"/>
          </p:nvPr>
        </p:nvSpPr>
        <p:spPr>
          <a:xfrm>
            <a:off x="703263" y="3518213"/>
            <a:ext cx="2435404" cy="2455703"/>
          </a:xfrm>
          <a:prstGeom prst="rect">
            <a:avLst/>
          </a:prstGeom>
        </p:spPr>
        <p:txBody>
          <a:bodyPr/>
          <a:lstStyle>
            <a:lvl1pPr marL="169850" indent="-16985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/>
            </a:lvl1pPr>
            <a:lvl2pPr marL="457167" indent="0" algn="l">
              <a:buNone/>
              <a:defRPr sz="1800"/>
            </a:lvl2pPr>
            <a:lvl3pPr marL="914332" indent="0" algn="l">
              <a:buNone/>
              <a:defRPr sz="1800"/>
            </a:lvl3pPr>
            <a:lvl4pPr marL="1371498" indent="0" algn="l">
              <a:buNone/>
              <a:defRPr sz="1800"/>
            </a:lvl4pPr>
            <a:lvl5pPr marL="1828664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23" name="Content Placeholder 21"/>
          <p:cNvSpPr>
            <a:spLocks noGrp="1"/>
          </p:cNvSpPr>
          <p:nvPr>
            <p:ph sz="quarter" idx="18" hasCustomPrompt="1"/>
          </p:nvPr>
        </p:nvSpPr>
        <p:spPr>
          <a:xfrm>
            <a:off x="3483243" y="3518213"/>
            <a:ext cx="2357964" cy="2455703"/>
          </a:xfrm>
          <a:prstGeom prst="rect">
            <a:avLst/>
          </a:prstGeom>
        </p:spPr>
        <p:txBody>
          <a:bodyPr/>
          <a:lstStyle>
            <a:lvl1pPr marL="169850" indent="-16985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/>
            </a:lvl1pPr>
            <a:lvl2pPr marL="457167" indent="0" algn="l">
              <a:buNone/>
              <a:defRPr sz="1800"/>
            </a:lvl2pPr>
            <a:lvl3pPr marL="914332" indent="0" algn="l">
              <a:buNone/>
              <a:defRPr sz="1800"/>
            </a:lvl3pPr>
            <a:lvl4pPr marL="1371498" indent="0" algn="l">
              <a:buNone/>
              <a:defRPr sz="1800"/>
            </a:lvl4pPr>
            <a:lvl5pPr marL="1828664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25" name="Content Placeholder 21"/>
          <p:cNvSpPr>
            <a:spLocks noGrp="1"/>
          </p:cNvSpPr>
          <p:nvPr>
            <p:ph sz="quarter" idx="19" hasCustomPrompt="1"/>
          </p:nvPr>
        </p:nvSpPr>
        <p:spPr>
          <a:xfrm>
            <a:off x="6185782" y="3516126"/>
            <a:ext cx="2362073" cy="2455703"/>
          </a:xfrm>
          <a:prstGeom prst="rect">
            <a:avLst/>
          </a:prstGeom>
        </p:spPr>
        <p:txBody>
          <a:bodyPr/>
          <a:lstStyle>
            <a:lvl1pPr marL="169850" indent="-16985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/>
            </a:lvl1pPr>
            <a:lvl2pPr marL="457167" indent="0" algn="l">
              <a:buNone/>
              <a:defRPr sz="1800"/>
            </a:lvl2pPr>
            <a:lvl3pPr marL="914332" indent="0" algn="l">
              <a:buNone/>
              <a:defRPr sz="1800"/>
            </a:lvl3pPr>
            <a:lvl4pPr marL="1371498" indent="0" algn="l">
              <a:buNone/>
              <a:defRPr sz="1800"/>
            </a:lvl4pPr>
            <a:lvl5pPr marL="1828664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26" name="Content Placeholder 21"/>
          <p:cNvSpPr>
            <a:spLocks noGrp="1"/>
          </p:cNvSpPr>
          <p:nvPr>
            <p:ph sz="quarter" idx="20" hasCustomPrompt="1"/>
          </p:nvPr>
        </p:nvSpPr>
        <p:spPr>
          <a:xfrm>
            <a:off x="8892421" y="3516126"/>
            <a:ext cx="2431091" cy="2455703"/>
          </a:xfrm>
          <a:prstGeom prst="rect">
            <a:avLst/>
          </a:prstGeom>
        </p:spPr>
        <p:txBody>
          <a:bodyPr/>
          <a:lstStyle>
            <a:lvl1pPr marL="169850" indent="-169850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/>
            </a:lvl1pPr>
            <a:lvl2pPr marL="457167" indent="0" algn="l">
              <a:buNone/>
              <a:defRPr sz="1800"/>
            </a:lvl2pPr>
            <a:lvl3pPr marL="914332" indent="0" algn="l">
              <a:buNone/>
              <a:defRPr sz="1800"/>
            </a:lvl3pPr>
            <a:lvl4pPr marL="1371498" indent="0" algn="l">
              <a:buNone/>
              <a:defRPr sz="1800"/>
            </a:lvl4pPr>
            <a:lvl5pPr marL="1828664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806459" y="1934398"/>
            <a:ext cx="2070143" cy="133156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167" indent="0">
              <a:buNone/>
              <a:defRPr sz="2000">
                <a:solidFill>
                  <a:schemeClr val="bg1"/>
                </a:solidFill>
              </a:defRPr>
            </a:lvl2pPr>
            <a:lvl3pPr marL="914332" indent="0">
              <a:buNone/>
              <a:defRPr sz="2000">
                <a:solidFill>
                  <a:schemeClr val="bg1"/>
                </a:solidFill>
              </a:defRPr>
            </a:lvl3pPr>
            <a:lvl4pPr marL="1371498" indent="0">
              <a:buNone/>
              <a:defRPr sz="2000">
                <a:solidFill>
                  <a:schemeClr val="bg1"/>
                </a:solidFill>
              </a:defRPr>
            </a:lvl4pPr>
            <a:lvl5pPr marL="1828664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3852133" y="1918891"/>
            <a:ext cx="2038400" cy="133156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167" indent="0">
              <a:buNone/>
              <a:defRPr sz="2000">
                <a:solidFill>
                  <a:schemeClr val="bg1"/>
                </a:solidFill>
              </a:defRPr>
            </a:lvl2pPr>
            <a:lvl3pPr marL="914332" indent="0">
              <a:buNone/>
              <a:defRPr sz="2000">
                <a:solidFill>
                  <a:schemeClr val="bg1"/>
                </a:solidFill>
              </a:defRPr>
            </a:lvl3pPr>
            <a:lvl4pPr marL="1371498" indent="0">
              <a:buNone/>
              <a:defRPr sz="2000">
                <a:solidFill>
                  <a:schemeClr val="bg1"/>
                </a:solidFill>
              </a:defRPr>
            </a:lvl4pPr>
            <a:lvl5pPr marL="1828664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31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6604001" y="1918891"/>
            <a:ext cx="2024091" cy="133156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167" indent="0">
              <a:buNone/>
              <a:defRPr sz="2000">
                <a:solidFill>
                  <a:schemeClr val="bg1"/>
                </a:solidFill>
              </a:defRPr>
            </a:lvl2pPr>
            <a:lvl3pPr marL="914332" indent="0">
              <a:buNone/>
              <a:defRPr sz="2000">
                <a:solidFill>
                  <a:schemeClr val="bg1"/>
                </a:solidFill>
              </a:defRPr>
            </a:lvl3pPr>
            <a:lvl4pPr marL="1371498" indent="0">
              <a:buNone/>
              <a:defRPr sz="2000">
                <a:solidFill>
                  <a:schemeClr val="bg1"/>
                </a:solidFill>
              </a:defRPr>
            </a:lvl4pPr>
            <a:lvl5pPr marL="1828664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33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9285111" y="1918891"/>
            <a:ext cx="2038400" cy="133156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167" indent="0">
              <a:buNone/>
              <a:defRPr sz="2000">
                <a:solidFill>
                  <a:schemeClr val="bg1"/>
                </a:solidFill>
              </a:defRPr>
            </a:lvl2pPr>
            <a:lvl3pPr marL="914332" indent="0">
              <a:buNone/>
              <a:defRPr sz="2000">
                <a:solidFill>
                  <a:schemeClr val="bg1"/>
                </a:solidFill>
              </a:defRPr>
            </a:lvl3pPr>
            <a:lvl4pPr marL="1371498" indent="0">
              <a:buNone/>
              <a:defRPr sz="2000">
                <a:solidFill>
                  <a:schemeClr val="bg1"/>
                </a:solidFill>
              </a:defRPr>
            </a:lvl4pPr>
            <a:lvl5pPr marL="1828664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F38F2EE8-C821-499A-B11C-06999A5AD1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354156182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: 4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627090" y="1898651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030419" y="1898653"/>
            <a:ext cx="3925887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2030421" y="2493709"/>
            <a:ext cx="3925887" cy="43999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29" name="Picture Placeholder 14"/>
          <p:cNvSpPr>
            <a:spLocks noGrp="1"/>
          </p:cNvSpPr>
          <p:nvPr>
            <p:ph type="pic" sz="quarter" idx="72" hasCustomPrompt="1"/>
          </p:nvPr>
        </p:nvSpPr>
        <p:spPr>
          <a:xfrm>
            <a:off x="6279383" y="1895375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73" hasCustomPrompt="1"/>
          </p:nvPr>
        </p:nvSpPr>
        <p:spPr>
          <a:xfrm>
            <a:off x="7682713" y="1895373"/>
            <a:ext cx="3861593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74" hasCustomPrompt="1"/>
          </p:nvPr>
        </p:nvSpPr>
        <p:spPr>
          <a:xfrm>
            <a:off x="7682708" y="2490433"/>
            <a:ext cx="3861595" cy="43999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33" name="Picture Placeholder 14"/>
          <p:cNvSpPr>
            <a:spLocks noGrp="1"/>
          </p:cNvSpPr>
          <p:nvPr>
            <p:ph type="pic" sz="quarter" idx="76" hasCustomPrompt="1"/>
          </p:nvPr>
        </p:nvSpPr>
        <p:spPr>
          <a:xfrm>
            <a:off x="627090" y="3705032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77" hasCustomPrompt="1"/>
          </p:nvPr>
        </p:nvSpPr>
        <p:spPr>
          <a:xfrm>
            <a:off x="2030419" y="3705033"/>
            <a:ext cx="3925887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78" hasCustomPrompt="1"/>
          </p:nvPr>
        </p:nvSpPr>
        <p:spPr>
          <a:xfrm>
            <a:off x="2030421" y="4300085"/>
            <a:ext cx="3925887" cy="44971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39" name="Picture Placeholder 14"/>
          <p:cNvSpPr>
            <a:spLocks noGrp="1"/>
          </p:cNvSpPr>
          <p:nvPr>
            <p:ph type="pic" sz="quarter" idx="80" hasCustomPrompt="1"/>
          </p:nvPr>
        </p:nvSpPr>
        <p:spPr>
          <a:xfrm>
            <a:off x="6279383" y="3701756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0" name="Text Placeholder 22"/>
          <p:cNvSpPr>
            <a:spLocks noGrp="1"/>
          </p:cNvSpPr>
          <p:nvPr>
            <p:ph type="body" sz="quarter" idx="81" hasCustomPrompt="1"/>
          </p:nvPr>
        </p:nvSpPr>
        <p:spPr>
          <a:xfrm>
            <a:off x="7682713" y="3701757"/>
            <a:ext cx="3861593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41" name="Text Placeholder 22"/>
          <p:cNvSpPr>
            <a:spLocks noGrp="1"/>
          </p:cNvSpPr>
          <p:nvPr>
            <p:ph type="body" sz="quarter" idx="82" hasCustomPrompt="1"/>
          </p:nvPr>
        </p:nvSpPr>
        <p:spPr>
          <a:xfrm>
            <a:off x="7682708" y="4296809"/>
            <a:ext cx="3861595" cy="449715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A4C37C16-271C-4885-A540-54D0A4079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38616046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: 6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627090" y="1488556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068513" y="1577457"/>
            <a:ext cx="3049587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2068515" y="2172511"/>
            <a:ext cx="3049588" cy="60509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28" name="Picture Placeholder 14"/>
          <p:cNvSpPr>
            <a:spLocks noGrp="1"/>
          </p:cNvSpPr>
          <p:nvPr>
            <p:ph type="pic" sz="quarter" idx="21" hasCustomPrompt="1"/>
          </p:nvPr>
        </p:nvSpPr>
        <p:spPr>
          <a:xfrm>
            <a:off x="609609" y="3074241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3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051033" y="3163141"/>
            <a:ext cx="3049587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44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2051035" y="3758195"/>
            <a:ext cx="3049588" cy="60509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45" name="Picture Placeholder 14"/>
          <p:cNvSpPr>
            <a:spLocks noGrp="1"/>
          </p:cNvSpPr>
          <p:nvPr>
            <p:ph type="pic" sz="quarter" idx="24" hasCustomPrompt="1"/>
          </p:nvPr>
        </p:nvSpPr>
        <p:spPr>
          <a:xfrm>
            <a:off x="627090" y="4676237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6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2068513" y="4765137"/>
            <a:ext cx="3049587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6" hasCustomPrompt="1"/>
          </p:nvPr>
        </p:nvSpPr>
        <p:spPr>
          <a:xfrm>
            <a:off x="2068515" y="5360191"/>
            <a:ext cx="3049588" cy="60509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48" name="Picture Placeholder 14"/>
          <p:cNvSpPr>
            <a:spLocks noGrp="1"/>
          </p:cNvSpPr>
          <p:nvPr>
            <p:ph type="pic" sz="quarter" idx="27" hasCustomPrompt="1"/>
          </p:nvPr>
        </p:nvSpPr>
        <p:spPr>
          <a:xfrm>
            <a:off x="5513415" y="1547331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9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6954837" y="1636229"/>
            <a:ext cx="3049587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50" name="Text Placehold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6954839" y="2231284"/>
            <a:ext cx="3049588" cy="60509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51" name="Picture Placeholder 14"/>
          <p:cNvSpPr>
            <a:spLocks noGrp="1"/>
          </p:cNvSpPr>
          <p:nvPr>
            <p:ph type="pic" sz="quarter" idx="30" hasCustomPrompt="1"/>
          </p:nvPr>
        </p:nvSpPr>
        <p:spPr>
          <a:xfrm>
            <a:off x="5495931" y="3133015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56" name="Text Placehold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6937357" y="3221917"/>
            <a:ext cx="3049587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57" name="Text Placeholder 22"/>
          <p:cNvSpPr>
            <a:spLocks noGrp="1"/>
          </p:cNvSpPr>
          <p:nvPr>
            <p:ph type="body" sz="quarter" idx="32" hasCustomPrompt="1"/>
          </p:nvPr>
        </p:nvSpPr>
        <p:spPr>
          <a:xfrm>
            <a:off x="6937359" y="3816969"/>
            <a:ext cx="3049588" cy="60509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58" name="Picture Placeholder 14"/>
          <p:cNvSpPr>
            <a:spLocks noGrp="1"/>
          </p:cNvSpPr>
          <p:nvPr>
            <p:ph type="pic" sz="quarter" idx="33" hasCustomPrompt="1"/>
          </p:nvPr>
        </p:nvSpPr>
        <p:spPr>
          <a:xfrm>
            <a:off x="5513415" y="4735011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59" name="Text Placehold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6954837" y="4823913"/>
            <a:ext cx="3049587" cy="52837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60" name="Text Placehold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6954839" y="5418965"/>
            <a:ext cx="3049588" cy="605096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4458BF4A-C168-4852-BF75-00CCFCF124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402586236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f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1FB21BB-BC56-40DE-879D-441599879104}"/>
              </a:ext>
            </a:extLst>
          </p:cNvPr>
          <p:cNvCxnSpPr>
            <a:cxnSpLocks/>
          </p:cNvCxnSpPr>
          <p:nvPr userDrawn="1"/>
        </p:nvCxnSpPr>
        <p:spPr>
          <a:xfrm>
            <a:off x="480252" y="1226336"/>
            <a:ext cx="11229149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7F79D1C-7BEF-4946-A0E4-D42D3741FE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252" y="536416"/>
            <a:ext cx="11203749" cy="550629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4800">
                <a:solidFill>
                  <a:schemeClr val="bg2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44093845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80251" y="499270"/>
            <a:ext cx="11229148" cy="62785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53555C"/>
                </a:solidFill>
                <a:latin typeface="Poppins Light" panose="02000000000000000000" pitchFamily="2" charset="0"/>
              </a:defRPr>
            </a:lvl1pPr>
            <a:lvl5pPr marL="1828709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80251" y="2014764"/>
            <a:ext cx="6352349" cy="3714520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2000"/>
            </a:lvl1pPr>
            <a:lvl2pPr>
              <a:lnSpc>
                <a:spcPct val="100000"/>
              </a:lnSpc>
              <a:spcAft>
                <a:spcPts val="400"/>
              </a:spcAft>
              <a:defRPr sz="1800"/>
            </a:lvl2pPr>
            <a:lvl3pPr>
              <a:lnSpc>
                <a:spcPct val="100000"/>
              </a:lnSpc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Aft>
                <a:spcPts val="400"/>
              </a:spcAft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80252" y="1574802"/>
            <a:ext cx="6351883" cy="349377"/>
          </a:xfrm>
        </p:spPr>
        <p:txBody>
          <a:bodyPr anchor="b" anchorCtr="0"/>
          <a:lstStyle>
            <a:lvl1pPr marL="0" indent="0">
              <a:buNone/>
              <a:defRPr sz="2400" b="1">
                <a:solidFill>
                  <a:srgbClr val="77BC1F"/>
                </a:solidFill>
              </a:defRPr>
            </a:lvl1pPr>
            <a:lvl2pPr marL="457178" indent="0">
              <a:buNone/>
              <a:defRPr b="1">
                <a:solidFill>
                  <a:srgbClr val="77BC1F"/>
                </a:solidFill>
              </a:defRPr>
            </a:lvl2pPr>
            <a:lvl3pPr marL="914354" indent="0">
              <a:buNone/>
              <a:defRPr b="1">
                <a:solidFill>
                  <a:srgbClr val="77BC1F"/>
                </a:solidFill>
              </a:defRPr>
            </a:lvl3pPr>
            <a:lvl4pPr marL="1371532" indent="0">
              <a:buNone/>
              <a:defRPr b="1">
                <a:solidFill>
                  <a:srgbClr val="77BC1F"/>
                </a:solidFill>
              </a:defRPr>
            </a:lvl4pPr>
            <a:lvl5pPr marL="1828709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 hasCustomPrompt="1"/>
          </p:nvPr>
        </p:nvSpPr>
        <p:spPr>
          <a:xfrm>
            <a:off x="7050089" y="1574800"/>
            <a:ext cx="4659313" cy="4154488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rgbClr val="979EA1"/>
                </a:solidFill>
              </a:defRPr>
            </a:lvl1pPr>
          </a:lstStyle>
          <a:p>
            <a:pPr lvl="0"/>
            <a:r>
              <a:rPr lang="en-US" dirty="0"/>
              <a:t>Insert chart or picture or other content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0908147-C456-446D-95FE-0951DE9F7880}"/>
              </a:ext>
            </a:extLst>
          </p:cNvPr>
          <p:cNvCxnSpPr>
            <a:cxnSpLocks/>
          </p:cNvCxnSpPr>
          <p:nvPr userDrawn="1"/>
        </p:nvCxnSpPr>
        <p:spPr>
          <a:xfrm>
            <a:off x="480252" y="1226336"/>
            <a:ext cx="11229149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14868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gram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39E7E99-E703-4CB4-9627-87ABC02574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545747"/>
            <a:ext cx="11201400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gram Overview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FED2DF8-EB33-402E-B886-C4B30C9E6A0C}"/>
              </a:ext>
            </a:extLst>
          </p:cNvPr>
          <p:cNvCxnSpPr>
            <a:cxnSpLocks/>
          </p:cNvCxnSpPr>
          <p:nvPr userDrawn="1"/>
        </p:nvCxnSpPr>
        <p:spPr>
          <a:xfrm>
            <a:off x="480252" y="1226336"/>
            <a:ext cx="11229149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53122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9" y="1"/>
            <a:ext cx="12189631" cy="6219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2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53555C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2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42361991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f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F7BAFA2-CAC1-4BB3-B215-785D6E383DF9}"/>
              </a:ext>
            </a:extLst>
          </p:cNvPr>
          <p:cNvCxnSpPr>
            <a:cxnSpLocks/>
          </p:cNvCxnSpPr>
          <p:nvPr userDrawn="1"/>
        </p:nvCxnSpPr>
        <p:spPr>
          <a:xfrm>
            <a:off x="609601" y="1226336"/>
            <a:ext cx="10987315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B37EA702-2655-4E9F-8826-472F7E5FF7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609830"/>
            <a:ext cx="10987312" cy="5506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214282853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-Ligh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A6F9B4A-1B27-4752-ADB8-0AD324929C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" y="3"/>
            <a:ext cx="12189631" cy="685799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0A2377E-E856-45F4-8EE0-ADDA74C87E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252" y="2019301"/>
            <a:ext cx="11229149" cy="711200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AE5F3C1-EB77-4D10-B0AA-AD2D24F9B7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0252" y="2805206"/>
            <a:ext cx="11229149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Poppins Light" panose="02000000000000000000" pitchFamily="2" charset="0"/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AD9EF2B-D41F-4DC0-B348-B3F03D3668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52" y="6330496"/>
            <a:ext cx="2567749" cy="310699"/>
          </a:xfrm>
          <a:prstGeom prst="rect">
            <a:avLst/>
          </a:prstGeom>
        </p:spPr>
      </p:pic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BFBB2C4-1095-4DE8-BCCE-50C4B499FE74}"/>
              </a:ext>
            </a:extLst>
          </p:cNvPr>
          <p:cNvSpPr txBox="1">
            <a:spLocks/>
          </p:cNvSpPr>
          <p:nvPr userDrawn="1"/>
        </p:nvSpPr>
        <p:spPr>
          <a:xfrm>
            <a:off x="11336566" y="6340128"/>
            <a:ext cx="323849" cy="29143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A32E3B9-EECE-4A89-A6AF-ECDA09B9D2C5}" type="slidenum">
              <a:rPr lang="en-US" sz="1100" smtClean="0">
                <a:solidFill>
                  <a:srgbClr val="53555C"/>
                </a:solidFill>
                <a:latin typeface="Poppins" panose="02000000000000000000" pitchFamily="2" charset="0"/>
              </a:rPr>
              <a:pPr/>
              <a:t>‹#›</a:t>
            </a:fld>
            <a:endParaRPr lang="en-US" sz="1100" dirty="0">
              <a:solidFill>
                <a:srgbClr val="53555C"/>
              </a:solidFill>
              <a:latin typeface="Poppi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3879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for Chart-Two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A6ED687-D244-46C7-A6AE-85923E6F2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59BC3E6-C7E3-4C14-83CA-BEAA966B71E5}"/>
              </a:ext>
            </a:extLst>
          </p:cNvPr>
          <p:cNvSpPr/>
          <p:nvPr userDrawn="1"/>
        </p:nvSpPr>
        <p:spPr>
          <a:xfrm>
            <a:off x="1" y="3571875"/>
            <a:ext cx="12192000" cy="3200400"/>
          </a:xfrm>
          <a:prstGeom prst="rect">
            <a:avLst/>
          </a:prstGeom>
          <a:solidFill>
            <a:schemeClr val="bg1">
              <a:lumMod val="95000"/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62AC68-30B7-4995-A4E8-47A2AE116A05}"/>
              </a:ext>
            </a:extLst>
          </p:cNvPr>
          <p:cNvSpPr/>
          <p:nvPr userDrawn="1"/>
        </p:nvSpPr>
        <p:spPr>
          <a:xfrm>
            <a:off x="-3907" y="6773647"/>
            <a:ext cx="12192000" cy="914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85611869-EBC0-485B-A510-7850722CE0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5281" y="6276199"/>
            <a:ext cx="2685651" cy="384048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F81B63A-D46F-4A18-9EA4-EAE935277F5A}"/>
              </a:ext>
            </a:extLst>
          </p:cNvPr>
          <p:cNvCxnSpPr/>
          <p:nvPr userDrawn="1"/>
        </p:nvCxnSpPr>
        <p:spPr>
          <a:xfrm>
            <a:off x="11430000" y="6298300"/>
            <a:ext cx="0" cy="365125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3416F4D-F0D7-4918-ACED-4D5EBC58CEC7}"/>
              </a:ext>
            </a:extLst>
          </p:cNvPr>
          <p:cNvSpPr txBox="1">
            <a:spLocks/>
          </p:cNvSpPr>
          <p:nvPr userDrawn="1"/>
        </p:nvSpPr>
        <p:spPr>
          <a:xfrm>
            <a:off x="11434998" y="6349761"/>
            <a:ext cx="323849" cy="29143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3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32E3B9-EECE-4A89-A6AF-ECDA09B9D2C5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srgbClr val="979EA1"/>
                </a:solidFill>
                <a:effectLst/>
                <a:uLnTx/>
                <a:uFillTx/>
                <a:latin typeface="Cera PRO" panose="00000500000000000000" pitchFamily="50" charset="0"/>
                <a:ea typeface="+mn-ea"/>
                <a:cs typeface="+mn-cs"/>
              </a:rPr>
              <a:pPr marL="0" marR="0" lvl="0" indent="0" algn="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979EA1"/>
              </a:solidFill>
              <a:effectLst/>
              <a:uLnTx/>
              <a:uFillTx/>
              <a:latin typeface="Cera PRO" panose="00000500000000000000" pitchFamily="50" charset="0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2384AA-08E5-4BFE-8C9E-73071943C4C3}"/>
              </a:ext>
            </a:extLst>
          </p:cNvPr>
          <p:cNvCxnSpPr>
            <a:cxnSpLocks/>
          </p:cNvCxnSpPr>
          <p:nvPr userDrawn="1"/>
        </p:nvCxnSpPr>
        <p:spPr>
          <a:xfrm>
            <a:off x="495300" y="1006824"/>
            <a:ext cx="1120140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86117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96CB5C2-4ED3-46CD-B2C8-3CDA73B189F7}"/>
              </a:ext>
            </a:extLst>
          </p:cNvPr>
          <p:cNvSpPr/>
          <p:nvPr userDrawn="1"/>
        </p:nvSpPr>
        <p:spPr>
          <a:xfrm>
            <a:off x="8686800" y="5982882"/>
            <a:ext cx="3505200" cy="875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F6DB5B-2F9F-4B25-99DB-2FC7F0A87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0400" y="0"/>
            <a:ext cx="8991603" cy="5984072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067ED969-C3B4-4C6A-B35B-097E3E92997E}"/>
              </a:ext>
            </a:extLst>
          </p:cNvPr>
          <p:cNvSpPr/>
          <p:nvPr userDrawn="1"/>
        </p:nvSpPr>
        <p:spPr>
          <a:xfrm>
            <a:off x="102784" y="-1944408"/>
            <a:ext cx="6705237" cy="6705237"/>
          </a:xfrm>
          <a:prstGeom prst="ellipse">
            <a:avLst/>
          </a:prstGeom>
          <a:gradFill flip="none" rotWithShape="1">
            <a:gsLst>
              <a:gs pos="26000">
                <a:schemeClr val="bg1"/>
              </a:gs>
              <a:gs pos="72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 Light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DD1BB43-65A1-4F31-A457-478BA3C76746}"/>
              </a:ext>
            </a:extLst>
          </p:cNvPr>
          <p:cNvSpPr/>
          <p:nvPr userDrawn="1"/>
        </p:nvSpPr>
        <p:spPr>
          <a:xfrm>
            <a:off x="226076" y="2487716"/>
            <a:ext cx="6705237" cy="6705237"/>
          </a:xfrm>
          <a:prstGeom prst="ellipse">
            <a:avLst/>
          </a:prstGeom>
          <a:gradFill flip="none" rotWithShape="1">
            <a:gsLst>
              <a:gs pos="26000">
                <a:schemeClr val="bg1"/>
              </a:gs>
              <a:gs pos="72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 Ligh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504066-6B00-46FC-A115-03D025ECC684}"/>
              </a:ext>
            </a:extLst>
          </p:cNvPr>
          <p:cNvSpPr/>
          <p:nvPr userDrawn="1"/>
        </p:nvSpPr>
        <p:spPr>
          <a:xfrm>
            <a:off x="3" y="0"/>
            <a:ext cx="6366295" cy="6858000"/>
          </a:xfrm>
          <a:prstGeom prst="rect">
            <a:avLst/>
          </a:prstGeom>
          <a:gradFill flip="none" rotWithShape="1">
            <a:gsLst>
              <a:gs pos="51000">
                <a:schemeClr val="bg1"/>
              </a:gs>
              <a:gs pos="91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 Light"/>
              <a:ea typeface="+mn-ea"/>
              <a:cs typeface="+mn-cs"/>
            </a:endParaRPr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 flipH="1">
            <a:off x="914400" y="5969000"/>
            <a:ext cx="757123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82042E3D-0505-4F81-AA14-B9D4165C23E1}"/>
              </a:ext>
            </a:extLst>
          </p:cNvPr>
          <p:cNvGrpSpPr/>
          <p:nvPr userDrawn="1"/>
        </p:nvGrpSpPr>
        <p:grpSpPr>
          <a:xfrm>
            <a:off x="-728585" y="2936944"/>
            <a:ext cx="1501513" cy="1681992"/>
            <a:chOff x="-146258" y="2003732"/>
            <a:chExt cx="971193" cy="1087929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755F793D-E6F0-4604-9BC8-AEEF1C9C0DC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146258" y="2120468"/>
              <a:ext cx="971193" cy="971193"/>
            </a:xfrm>
            <a:prstGeom prst="chord">
              <a:avLst>
                <a:gd name="adj1" fmla="val 16092075"/>
                <a:gd name="adj2" fmla="val 5509002"/>
              </a:avLst>
            </a:prstGeom>
            <a:solidFill>
              <a:schemeClr val="accent3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 Light"/>
                <a:ea typeface="+mn-ea"/>
                <a:cs typeface="+mn-cs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55FF2F7-B772-494B-A5B3-45B6FCE745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0791" y="2003732"/>
              <a:ext cx="315436" cy="315436"/>
            </a:xfrm>
            <a:prstGeom prst="ellipse">
              <a:avLst/>
            </a:prstGeom>
            <a:solidFill>
              <a:schemeClr val="accent4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 Light"/>
                <a:ea typeface="+mn-ea"/>
                <a:cs typeface="+mn-cs"/>
              </a:endParaRPr>
            </a:p>
          </p:txBody>
        </p: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DDFE1A2E-7CE0-48B1-8156-EB3EFDDF9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27905" y="3514549"/>
            <a:ext cx="3964096" cy="334345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438B32C-E35C-456A-BCAD-13B83CC0DF9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6110986"/>
            <a:ext cx="3779520" cy="587337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328B40A-E57C-498B-932C-D309CEF730A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1965" y="3111873"/>
            <a:ext cx="5783635" cy="1508105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000">
                <a:solidFill>
                  <a:schemeClr val="accent5">
                    <a:lumMod val="50000"/>
                  </a:schemeClr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Title of Presentation</a:t>
            </a:r>
          </a:p>
          <a:p>
            <a:pPr lvl="0"/>
            <a:r>
              <a:rPr lang="en-US" dirty="0"/>
              <a:t>Up to Two Lines Total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A58E419-861C-4822-A158-F623A7A6C9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274" y="4646000"/>
            <a:ext cx="5791327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dirty="0"/>
              <a:t>Enter Presenter Name(s), Date or Subtitle</a:t>
            </a:r>
          </a:p>
        </p:txBody>
      </p:sp>
    </p:spTree>
    <p:extLst>
      <p:ext uri="{BB962C8B-B14F-4D97-AF65-F5344CB8AC3E}">
        <p14:creationId xmlns:p14="http://schemas.microsoft.com/office/powerpoint/2010/main" val="50654748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F4BDCAB-36BC-42FA-8BA2-95C14A53EA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27133" y="1"/>
            <a:ext cx="6764867" cy="5969001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B2B9CAB7-6D02-4C3A-AF6C-AD5EE3CED1DD}"/>
              </a:ext>
            </a:extLst>
          </p:cNvPr>
          <p:cNvSpPr>
            <a:spLocks noChangeAspect="1"/>
          </p:cNvSpPr>
          <p:nvPr userDrawn="1"/>
        </p:nvSpPr>
        <p:spPr>
          <a:xfrm>
            <a:off x="2575516" y="-885183"/>
            <a:ext cx="4023360" cy="4023360"/>
          </a:xfrm>
          <a:prstGeom prst="ellipse">
            <a:avLst/>
          </a:prstGeom>
          <a:gradFill flip="none" rotWithShape="1">
            <a:gsLst>
              <a:gs pos="21000">
                <a:schemeClr val="bg1"/>
              </a:gs>
              <a:gs pos="55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 Light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B5EA0978-B4E7-49BB-AD4F-47CC8C99014F}"/>
              </a:ext>
            </a:extLst>
          </p:cNvPr>
          <p:cNvSpPr>
            <a:spLocks noChangeAspect="1"/>
          </p:cNvSpPr>
          <p:nvPr userDrawn="1"/>
        </p:nvSpPr>
        <p:spPr>
          <a:xfrm>
            <a:off x="3205651" y="4028102"/>
            <a:ext cx="3363300" cy="3363300"/>
          </a:xfrm>
          <a:prstGeom prst="ellipse">
            <a:avLst/>
          </a:prstGeom>
          <a:gradFill flip="none" rotWithShape="1">
            <a:gsLst>
              <a:gs pos="21000">
                <a:schemeClr val="bg1"/>
              </a:gs>
              <a:gs pos="55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 Ligh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0DFE70-4D9B-41C8-AF3C-CA7864424457}"/>
              </a:ext>
            </a:extLst>
          </p:cNvPr>
          <p:cNvSpPr/>
          <p:nvPr userDrawn="1"/>
        </p:nvSpPr>
        <p:spPr>
          <a:xfrm>
            <a:off x="2411249" y="0"/>
            <a:ext cx="6097787" cy="6858000"/>
          </a:xfrm>
          <a:prstGeom prst="rect">
            <a:avLst/>
          </a:prstGeom>
          <a:gradFill flip="none" rotWithShape="1">
            <a:gsLst>
              <a:gs pos="51000">
                <a:schemeClr val="bg1"/>
              </a:gs>
              <a:gs pos="91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E71BB30-E90E-4A40-BC3A-D1DCDE2FBC96}"/>
              </a:ext>
            </a:extLst>
          </p:cNvPr>
          <p:cNvCxnSpPr>
            <a:cxnSpLocks/>
          </p:cNvCxnSpPr>
          <p:nvPr userDrawn="1"/>
        </p:nvCxnSpPr>
        <p:spPr>
          <a:xfrm flipH="1">
            <a:off x="914400" y="5969000"/>
            <a:ext cx="940003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75517F3D-294E-45EB-93C9-A00E12BA9EB5}"/>
              </a:ext>
            </a:extLst>
          </p:cNvPr>
          <p:cNvSpPr>
            <a:spLocks noChangeAspect="1"/>
          </p:cNvSpPr>
          <p:nvPr userDrawn="1"/>
        </p:nvSpPr>
        <p:spPr>
          <a:xfrm>
            <a:off x="10562652" y="5482304"/>
            <a:ext cx="1219200" cy="1219200"/>
          </a:xfrm>
          <a:prstGeom prst="ellipse">
            <a:avLst/>
          </a:prstGeom>
          <a:solidFill>
            <a:schemeClr val="accent1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02C3773-2AB7-49AC-AAF1-3765EFB0E3DE}"/>
              </a:ext>
            </a:extLst>
          </p:cNvPr>
          <p:cNvSpPr>
            <a:spLocks noChangeAspect="1"/>
          </p:cNvSpPr>
          <p:nvPr userDrawn="1"/>
        </p:nvSpPr>
        <p:spPr>
          <a:xfrm>
            <a:off x="10257852" y="5482304"/>
            <a:ext cx="609600" cy="609600"/>
          </a:xfrm>
          <a:prstGeom prst="ellipse">
            <a:avLst/>
          </a:prstGeom>
          <a:solidFill>
            <a:schemeClr val="accent4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C603D4D-9959-4B89-B76A-837CE18237E4}"/>
              </a:ext>
            </a:extLst>
          </p:cNvPr>
          <p:cNvGrpSpPr/>
          <p:nvPr userDrawn="1"/>
        </p:nvGrpSpPr>
        <p:grpSpPr>
          <a:xfrm>
            <a:off x="-728585" y="2936944"/>
            <a:ext cx="1501513" cy="1681992"/>
            <a:chOff x="-146258" y="2003732"/>
            <a:chExt cx="971193" cy="1087929"/>
          </a:xfrm>
        </p:grpSpPr>
        <p:sp>
          <p:nvSpPr>
            <p:cNvPr id="20" name="Chord 19">
              <a:extLst>
                <a:ext uri="{FF2B5EF4-FFF2-40B4-BE49-F238E27FC236}">
                  <a16:creationId xmlns:a16="http://schemas.microsoft.com/office/drawing/2014/main" id="{237C3DED-C134-40F3-AFFF-C3CE99155F4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146258" y="2120468"/>
              <a:ext cx="971193" cy="971193"/>
            </a:xfrm>
            <a:prstGeom prst="chord">
              <a:avLst>
                <a:gd name="adj1" fmla="val 16092075"/>
                <a:gd name="adj2" fmla="val 5509002"/>
              </a:avLst>
            </a:prstGeom>
            <a:solidFill>
              <a:schemeClr val="accent5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 Light"/>
                <a:ea typeface="+mn-ea"/>
                <a:cs typeface="+mn-cs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859EABB-AA7C-4540-AA91-E1D09A010F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440791" y="2003732"/>
              <a:ext cx="315436" cy="315436"/>
            </a:xfrm>
            <a:prstGeom prst="ellipse">
              <a:avLst/>
            </a:prstGeom>
            <a:solidFill>
              <a:schemeClr val="accent3"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ra PRO Light"/>
                <a:ea typeface="+mn-ea"/>
                <a:cs typeface="+mn-cs"/>
              </a:endParaRPr>
            </a:p>
          </p:txBody>
        </p:sp>
      </p:grp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144773C-1ACF-441D-BA33-9F7B39D2C5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14274" y="4646000"/>
            <a:ext cx="5791327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dirty="0"/>
              <a:t>Enter Presenter Name(s), Date or Sub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D65CA4B-1C61-4422-9C09-3F95819EBA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1965" y="3111873"/>
            <a:ext cx="5783635" cy="1508105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000">
                <a:solidFill>
                  <a:schemeClr val="accent6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Title of Presentation</a:t>
            </a:r>
          </a:p>
          <a:p>
            <a:pPr lvl="0"/>
            <a:r>
              <a:rPr lang="en-US" dirty="0"/>
              <a:t>Up to Two Lines Tota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9478755-50E1-4252-834A-581D1627CB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6110986"/>
            <a:ext cx="3779520" cy="587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34067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11397F-AB64-4918-819E-4E54CB8834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4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6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5BFFB5-955E-4E99-A951-2EC663F4D8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4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B55C73D-5E14-4B8B-B35D-A24CB0A03634}"/>
              </a:ext>
            </a:extLst>
          </p:cNvPr>
          <p:cNvSpPr>
            <a:spLocks noChangeAspect="1"/>
          </p:cNvSpPr>
          <p:nvPr userDrawn="1"/>
        </p:nvSpPr>
        <p:spPr>
          <a:xfrm>
            <a:off x="9880112" y="2455207"/>
            <a:ext cx="1188720" cy="1188720"/>
          </a:xfrm>
          <a:prstGeom prst="ellipse">
            <a:avLst/>
          </a:prstGeom>
          <a:solidFill>
            <a:schemeClr val="accent2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6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62A11C5-2946-47CA-85E6-6D9CCBF24C24}"/>
              </a:ext>
            </a:extLst>
          </p:cNvPr>
          <p:cNvSpPr>
            <a:spLocks noChangeAspect="1"/>
          </p:cNvSpPr>
          <p:nvPr userDrawn="1"/>
        </p:nvSpPr>
        <p:spPr>
          <a:xfrm>
            <a:off x="10104032" y="2226607"/>
            <a:ext cx="457200" cy="457200"/>
          </a:xfrm>
          <a:prstGeom prst="ellipse">
            <a:avLst/>
          </a:prstGeom>
          <a:solidFill>
            <a:schemeClr val="accent4"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76251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2C10F004-F401-4767-A5FB-6297805C25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4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6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739F321-50EA-4863-8CCF-0BA2DE575D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4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42265629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2D54A27-FEC1-4434-ABE1-5FC0600356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4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6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0B214F47-F67F-4F5D-A300-A1BA5491FB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4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389589871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02217B-9D07-499E-ABD0-F4E3443B56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4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6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A4CC195B-6ABF-4C43-8656-09DE9B572F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4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300247605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BB56823-28C4-47EF-9B1C-297C56B77A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4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6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3A6EF9FD-A969-415E-ADBA-BB6C42E309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4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22660457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9" y="1"/>
            <a:ext cx="12189631" cy="6200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2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53555C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2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274405696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Section-Dark Gree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CBD8CB6-9FAC-45E8-B43B-ED1353BF773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14274" y="3166873"/>
            <a:ext cx="8686927" cy="954107"/>
          </a:xfrm>
          <a:prstGeom prst="rect">
            <a:avLst/>
          </a:prstGeom>
        </p:spPr>
        <p:txBody>
          <a:bodyPr wrap="square" tIns="274320" anchor="b" anchorCtr="0">
            <a:spAutoFit/>
          </a:bodyPr>
          <a:lstStyle>
            <a:lvl1pPr marL="0" indent="0">
              <a:buNone/>
              <a:defRPr sz="4400">
                <a:solidFill>
                  <a:schemeClr val="accent6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Insert Section Header</a:t>
            </a:r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5E0E5314-05E3-4D4A-A34A-9BC29085E2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274" y="4120979"/>
            <a:ext cx="8686927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2400">
                <a:solidFill>
                  <a:schemeClr val="accent6"/>
                </a:solidFill>
              </a:defRPr>
            </a:lvl1pPr>
            <a:lvl2pPr marL="457166" indent="0">
              <a:buNone/>
              <a:defRPr/>
            </a:lvl2pPr>
            <a:lvl3pPr marL="914330" indent="0">
              <a:buNone/>
              <a:defRPr/>
            </a:lvl3pPr>
            <a:lvl4pPr marL="1371496" indent="0">
              <a:buNone/>
              <a:defRPr/>
            </a:lvl4pPr>
            <a:lvl5pPr marL="1828664" indent="0">
              <a:buNone/>
              <a:defRPr/>
            </a:lvl5pPr>
          </a:lstStyle>
          <a:p>
            <a:pPr lvl="0"/>
            <a:r>
              <a:rPr lang="en-US" dirty="0"/>
              <a:t>Enter Subtitle or Names of Section Presenters</a:t>
            </a:r>
          </a:p>
        </p:txBody>
      </p:sp>
    </p:spTree>
    <p:extLst>
      <p:ext uri="{BB962C8B-B14F-4D97-AF65-F5344CB8AC3E}">
        <p14:creationId xmlns:p14="http://schemas.microsoft.com/office/powerpoint/2010/main" val="13337864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B72EF0C-12F1-421B-8BC7-EF71339A54C4}"/>
              </a:ext>
            </a:extLst>
          </p:cNvPr>
          <p:cNvSpPr/>
          <p:nvPr userDrawn="1"/>
        </p:nvSpPr>
        <p:spPr>
          <a:xfrm>
            <a:off x="228600" y="914402"/>
            <a:ext cx="11734800" cy="1471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E25E6E-7B38-4870-8B94-4EF57F063F6F}"/>
              </a:ext>
            </a:extLst>
          </p:cNvPr>
          <p:cNvSpPr/>
          <p:nvPr userDrawn="1"/>
        </p:nvSpPr>
        <p:spPr>
          <a:xfrm>
            <a:off x="2" y="1158242"/>
            <a:ext cx="480252" cy="4570111"/>
          </a:xfrm>
          <a:prstGeom prst="rect">
            <a:avLst/>
          </a:prstGeom>
          <a:solidFill>
            <a:srgbClr val="78BE4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/>
              <a:ea typeface="+mn-ea"/>
              <a:cs typeface="+mn-cs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CE549DA-C993-4D00-94F5-6E240D4BD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0253" y="1158242"/>
            <a:ext cx="11407043" cy="4570111"/>
          </a:xfrm>
          <a:prstGeom prst="rect">
            <a:avLst/>
          </a:prstGeom>
          <a:solidFill>
            <a:srgbClr val="EAECEC"/>
          </a:solidFill>
        </p:spPr>
        <p:txBody>
          <a:bodyPr lIns="182880" tIns="91440" rIns="182880"/>
          <a:lstStyle>
            <a:lvl1pPr marL="342882" marR="0" indent="-342882" algn="l" defTabSz="91435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6747"/>
              </a:buClr>
              <a:buSzPct val="110000"/>
              <a:buFont typeface="Arial" panose="020B0604020202020204" pitchFamily="34" charset="0"/>
              <a:buChar char="•"/>
              <a:tabLst/>
              <a:defRPr/>
            </a:lvl1pPr>
          </a:lstStyle>
          <a:p>
            <a:pPr marL="342882" marR="0" lvl="0" indent="-342882" algn="l" defTabSz="91435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6747"/>
              </a:buClr>
              <a:buSzPct val="110000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Poppins Light" panose="02000000000000000000" pitchFamily="2" charset="0"/>
              </a:rPr>
              <a:t>Start Bullet List Here</a:t>
            </a:r>
          </a:p>
          <a:p>
            <a:pPr marL="342882" marR="0" lvl="0" indent="-342882" algn="l" defTabSz="914354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6747"/>
              </a:buClr>
              <a:buSzPct val="110000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Poppins Light" panose="02000000000000000000" pitchFamily="2" charset="0"/>
              <a:ea typeface="+mn-ea"/>
              <a:cs typeface="Poppins Light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8B2A1F-AC82-4BC5-8A93-C403EE43AB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oday or Agenda</a:t>
            </a:r>
          </a:p>
        </p:txBody>
      </p:sp>
    </p:spTree>
    <p:extLst>
      <p:ext uri="{BB962C8B-B14F-4D97-AF65-F5344CB8AC3E}">
        <p14:creationId xmlns:p14="http://schemas.microsoft.com/office/powerpoint/2010/main" val="12695731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FC06078-4F8B-446E-8ED7-7589C2D522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439" y="1333509"/>
            <a:ext cx="11247120" cy="4660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1F6312-94EF-4E86-85AB-05DA6DE0AD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91681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f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17D55-D54E-4596-B209-AD62F4F51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398631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woTone Vert - Thir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A7A92109-46F7-4F06-8D47-048B7812BB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89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170771486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woTone Horizontal Thir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A6ED687-D244-46C7-A6AE-85923E6F2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89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2384AA-08E5-4BFE-8C9E-73071943C4C3}"/>
              </a:ext>
            </a:extLst>
          </p:cNvPr>
          <p:cNvCxnSpPr>
            <a:cxnSpLocks/>
          </p:cNvCxnSpPr>
          <p:nvPr userDrawn="1"/>
        </p:nvCxnSpPr>
        <p:spPr>
          <a:xfrm>
            <a:off x="495300" y="1006824"/>
            <a:ext cx="1120140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061402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woTone Horizontal Half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A6ED687-D244-46C7-A6AE-85923E6F2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89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2384AA-08E5-4BFE-8C9E-73071943C4C3}"/>
              </a:ext>
            </a:extLst>
          </p:cNvPr>
          <p:cNvCxnSpPr>
            <a:cxnSpLocks/>
          </p:cNvCxnSpPr>
          <p:nvPr userDrawn="1"/>
        </p:nvCxnSpPr>
        <p:spPr>
          <a:xfrm>
            <a:off x="495300" y="1006824"/>
            <a:ext cx="1120140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406762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woTone Horizontal TwoThird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A6ED687-D244-46C7-A6AE-85923E6F2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440" y="456189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/>
            </a:lvl1pPr>
          </a:lstStyle>
          <a:p>
            <a:r>
              <a:rPr lang="en-US" dirty="0"/>
              <a:t>Insert Heade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2384AA-08E5-4BFE-8C9E-73071943C4C3}"/>
              </a:ext>
            </a:extLst>
          </p:cNvPr>
          <p:cNvCxnSpPr>
            <a:cxnSpLocks/>
          </p:cNvCxnSpPr>
          <p:nvPr userDrawn="1"/>
        </p:nvCxnSpPr>
        <p:spPr>
          <a:xfrm>
            <a:off x="495300" y="1006824"/>
            <a:ext cx="1120140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479763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TwoTone Horizontal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4BC981E6-2839-4F85-B492-C37AAEEBD4FE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80252" y="1676400"/>
            <a:ext cx="2743200" cy="2743200"/>
          </a:xfrm>
          <a:prstGeom prst="ellipse">
            <a:avLst/>
          </a:prstGeom>
        </p:spPr>
        <p:txBody>
          <a:bodyPr anchor="t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Paste picture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7E9228E-39B5-4C9B-98D8-213169901E3C}"/>
              </a:ext>
            </a:extLst>
          </p:cNvPr>
          <p:cNvCxnSpPr/>
          <p:nvPr userDrawn="1"/>
        </p:nvCxnSpPr>
        <p:spPr>
          <a:xfrm>
            <a:off x="3707227" y="1676400"/>
            <a:ext cx="0" cy="2743200"/>
          </a:xfrm>
          <a:prstGeom prst="line">
            <a:avLst/>
          </a:prstGeom>
          <a:ln w="25400" cap="rnd">
            <a:solidFill>
              <a:schemeClr val="accent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EEE87CB-F269-4658-A9C8-AA4424B2ED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91000" y="2286000"/>
            <a:ext cx="7493000" cy="2133600"/>
          </a:xfrm>
        </p:spPr>
        <p:txBody>
          <a:bodyPr/>
          <a:lstStyle>
            <a:lvl1pPr marL="0" indent="0">
              <a:buNone/>
              <a:defRPr sz="1200"/>
            </a:lvl1pPr>
            <a:lvl2pPr>
              <a:defRPr sz="12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Bio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C651B783-B395-4CD3-9487-2C591F49DC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1001" y="1677317"/>
            <a:ext cx="7492999" cy="215492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676D0215-FF63-42A4-BE0F-F94D8ED09C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91001" y="1917192"/>
            <a:ext cx="7492999" cy="356616"/>
          </a:xfrm>
        </p:spPr>
        <p:txBody>
          <a:bodyPr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400">
                <a:solidFill>
                  <a:schemeClr val="tx2"/>
                </a:solidFill>
                <a:latin typeface="Poppins" panose="02000000000000000000" pitchFamily="2" charset="0"/>
                <a:cs typeface="Poppins" panose="02000000000000000000" pitchFamily="2" charset="0"/>
              </a:defRPr>
            </a:lvl1pPr>
          </a:lstStyle>
          <a:p>
            <a:r>
              <a:rPr lang="en-US" sz="1400" dirty="0">
                <a:solidFill>
                  <a:schemeClr val="tx2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627AC3-4A04-4699-A021-8AA507C3F4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Featured Presenter or Similar Title</a:t>
            </a:r>
          </a:p>
        </p:txBody>
      </p:sp>
    </p:spTree>
    <p:extLst>
      <p:ext uri="{BB962C8B-B14F-4D97-AF65-F5344CB8AC3E}">
        <p14:creationId xmlns:p14="http://schemas.microsoft.com/office/powerpoint/2010/main" val="354947861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CD32F2-F010-4132-A8BB-4794229601EC}"/>
              </a:ext>
            </a:extLst>
          </p:cNvPr>
          <p:cNvSpPr/>
          <p:nvPr userDrawn="1"/>
        </p:nvSpPr>
        <p:spPr>
          <a:xfrm>
            <a:off x="304800" y="889000"/>
            <a:ext cx="11684000" cy="203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179045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-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" y="1"/>
            <a:ext cx="12189628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1225" y="2870208"/>
            <a:ext cx="8498475" cy="704461"/>
          </a:xfrm>
        </p:spPr>
        <p:txBody>
          <a:bodyPr anchor="b"/>
          <a:lstStyle>
            <a:lvl1pPr>
              <a:defRPr sz="4800">
                <a:solidFill>
                  <a:srgbClr val="77BC1F"/>
                </a:solidFill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225" y="3639228"/>
            <a:ext cx="8498475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rgbClr val="53555C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nter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386542268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e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 Light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CCC2BEF-1B95-404A-9E21-723F8B6E3A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0240" y="6288603"/>
            <a:ext cx="2389632" cy="37134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1191221-8C91-4476-99FB-A217610EADDD}"/>
              </a:ext>
            </a:extLst>
          </p:cNvPr>
          <p:cNvCxnSpPr/>
          <p:nvPr userDrawn="1"/>
        </p:nvCxnSpPr>
        <p:spPr>
          <a:xfrm>
            <a:off x="11430000" y="6298300"/>
            <a:ext cx="0" cy="36512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C419C535-344F-4029-9ABB-A5571869BC9C}"/>
              </a:ext>
            </a:extLst>
          </p:cNvPr>
          <p:cNvSpPr txBox="1">
            <a:spLocks/>
          </p:cNvSpPr>
          <p:nvPr userDrawn="1"/>
        </p:nvSpPr>
        <p:spPr>
          <a:xfrm>
            <a:off x="11434997" y="6349761"/>
            <a:ext cx="323849" cy="29143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32E3B9-EECE-4A89-A6AF-ECDA09B9D2C5}" type="slidenum">
              <a:rPr kumimoji="0" lang="en-US" sz="1333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ra PRO" panose="00000500000000000000" pitchFamily="50" charset="0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ra PRO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981054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egment-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2441" y="1424949"/>
            <a:ext cx="3851916" cy="569603"/>
          </a:xfrm>
        </p:spPr>
        <p:txBody>
          <a:bodyPr anchor="b" anchorCtr="0"/>
          <a:lstStyle>
            <a:lvl1pPr marL="0" indent="0" algn="r">
              <a:buNone/>
              <a:defRPr sz="2667" b="0">
                <a:solidFill>
                  <a:srgbClr val="77BC1F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Strategy 01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72441" y="2008132"/>
            <a:ext cx="3851916" cy="1584960"/>
          </a:xfrm>
        </p:spPr>
        <p:txBody>
          <a:bodyPr anchor="t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6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72441" y="3782686"/>
            <a:ext cx="3851916" cy="578263"/>
          </a:xfrm>
        </p:spPr>
        <p:txBody>
          <a:bodyPr anchor="b" anchorCtr="0"/>
          <a:lstStyle>
            <a:lvl1pPr marL="0" indent="0" algn="r">
              <a:buNone/>
              <a:defRPr sz="2667" b="0">
                <a:solidFill>
                  <a:srgbClr val="979EA1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Strategy 02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1" y="4370787"/>
            <a:ext cx="3851916" cy="1706880"/>
          </a:xfrm>
        </p:spPr>
        <p:txBody>
          <a:bodyPr anchor="t" anchorCtr="0">
            <a:normAutofit/>
          </a:bodyPr>
          <a:lstStyle>
            <a:lvl1pPr marL="0" indent="0" algn="r">
              <a:lnSpc>
                <a:spcPct val="100000"/>
              </a:lnSpc>
              <a:buNone/>
              <a:defRPr sz="16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7867656" y="1424949"/>
            <a:ext cx="3851904" cy="569603"/>
          </a:xfrm>
        </p:spPr>
        <p:txBody>
          <a:bodyPr anchor="b" anchorCtr="0"/>
          <a:lstStyle>
            <a:lvl1pPr marL="0" indent="0" algn="l">
              <a:buNone/>
              <a:defRPr sz="2667" b="0">
                <a:solidFill>
                  <a:srgbClr val="006647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Strategy 03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7867656" y="2008132"/>
            <a:ext cx="3851904" cy="1584960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7867656" y="3782686"/>
            <a:ext cx="3851904" cy="578263"/>
          </a:xfrm>
        </p:spPr>
        <p:txBody>
          <a:bodyPr anchor="b" anchorCtr="0"/>
          <a:lstStyle>
            <a:lvl1pPr marL="0" indent="0" algn="l">
              <a:buNone/>
              <a:defRPr sz="2667" b="0">
                <a:solidFill>
                  <a:srgbClr val="00B5E2"/>
                </a:solidFill>
                <a:latin typeface="Poppins Medium" panose="02000000000000000000" pitchFamily="2" charset="0"/>
                <a:cs typeface="Poppins Medium" panose="02000000000000000000" pitchFamily="2" charset="0"/>
              </a:defRPr>
            </a:lvl1pPr>
          </a:lstStyle>
          <a:p>
            <a:pPr lvl="0"/>
            <a:r>
              <a:rPr lang="en-US" dirty="0"/>
              <a:t>Strategy 04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67656" y="4370787"/>
            <a:ext cx="3851904" cy="1706880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6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463986" y="1974985"/>
            <a:ext cx="3241305" cy="3251067"/>
            <a:chOff x="4445794" y="2242036"/>
            <a:chExt cx="2985293" cy="2994283"/>
          </a:xfrm>
        </p:grpSpPr>
        <p:pic>
          <p:nvPicPr>
            <p:cNvPr id="2" name="Graphic 1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445794" y="2242036"/>
              <a:ext cx="1657350" cy="1476375"/>
            </a:xfrm>
            <a:prstGeom prst="rect">
              <a:avLst/>
            </a:prstGeom>
          </p:spPr>
        </p:pic>
        <p:pic>
          <p:nvPicPr>
            <p:cNvPr id="6" name="Graphic 5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54712" y="2249606"/>
              <a:ext cx="1476375" cy="1657350"/>
            </a:xfrm>
            <a:prstGeom prst="rect">
              <a:avLst/>
            </a:prstGeom>
          </p:spPr>
        </p:pic>
        <p:pic>
          <p:nvPicPr>
            <p:cNvPr id="22" name="Graphic 2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73737" y="3759944"/>
              <a:ext cx="1657350" cy="1476375"/>
            </a:xfrm>
            <a:prstGeom prst="rect">
              <a:avLst/>
            </a:prstGeom>
          </p:spPr>
        </p:pic>
        <p:pic>
          <p:nvPicPr>
            <p:cNvPr id="23" name="Graphic 22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445794" y="3565146"/>
              <a:ext cx="1476375" cy="1657350"/>
            </a:xfrm>
            <a:prstGeom prst="rect">
              <a:avLst/>
            </a:prstGeom>
          </p:spPr>
        </p:pic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58E985A7-7E47-4BBB-9BD8-AC428BF80C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740108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FA60C-D714-4365-83E5-3FC6F6696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A96062-87EB-4F15-AA0D-DCFCFFEB94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977843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gram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B39E7E99-E703-4CB4-9627-87ABC02574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545746"/>
            <a:ext cx="11201400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gram Overview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FED2DF8-EB33-402E-B886-C4B30C9E6A0C}"/>
              </a:ext>
            </a:extLst>
          </p:cNvPr>
          <p:cNvCxnSpPr>
            <a:cxnSpLocks/>
          </p:cNvCxnSpPr>
          <p:nvPr userDrawn="1"/>
        </p:nvCxnSpPr>
        <p:spPr>
          <a:xfrm>
            <a:off x="480252" y="1226336"/>
            <a:ext cx="11229149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182534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 f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/>
        </p:nvCxnSpPr>
        <p:spPr>
          <a:xfrm>
            <a:off x="609601" y="1449615"/>
            <a:ext cx="10987315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/>
        </p:nvCxnSpPr>
        <p:spPr>
          <a:xfrm>
            <a:off x="609601" y="554264"/>
            <a:ext cx="10987315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596799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5pPr marL="2438278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163193461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A90EB-FEE0-4439-B6DD-41531B4B50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B2CF584-1233-43CC-BC78-AA749F7B6C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79E5E5-6F5B-4A94-A57C-B817F3F04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32AFBC-F1CE-4B18-900A-4C8FAE55D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94DB56-C58F-4A33-9BB8-F01CE3E43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447727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B747C-1ABD-4CF8-9477-08EFD6F57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42EF23-BDCA-4015-84C8-1771AA53FD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6EBEC2-23CD-4B59-BC48-DEB87FDF01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9E05AE-D9C2-45F9-85A5-B0F262F9C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DCCAA7-35F2-48A1-ACC8-8620076CD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02446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C7C30-CE42-4583-AAC6-6BC8D6D64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12C11E-FC3A-497A-8CD9-FB9F699556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797F5E-0D9D-4F41-8985-3CFDAE9DDB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F2A8A6-1BD6-49CD-BC71-283E398AC4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F29159-DB1A-4434-9117-A781779C7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89174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39D4F-D535-4210-9B53-66A8DB761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94FDAE-5D85-48EF-835F-7221D617A1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E59BBC-814D-462B-A7A1-AD0D58EDF7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FE60E3-3A99-4310-AADF-6E099DE18C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539314-6D3F-4BE6-88F3-4F194F204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72AC81-1A1A-483A-80A3-471420E292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43721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CA2715-EC3C-46E9-AF84-2A5A5EEFF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3889E5-FC34-4337-B319-722D052F8E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516B3B-7699-4DC6-92DD-7897069AF7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A01DCB-AC3C-464C-A0A8-AA0748747A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E927DE-D50F-4881-9E19-54D00ACA4C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0F62E66-1CF9-409C-8A61-D9822E4BE7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6BD419-95BF-45B2-A243-E52B4B60B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DB3F62-9DDC-47F3-9B95-71B7A0CA6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6819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am Overview: 3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75498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gram 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0485" y="3108785"/>
            <a:ext cx="3474720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1800"/>
            </a:lvl2pPr>
            <a:lvl3pPr>
              <a:spcBef>
                <a:spcPts val="0"/>
              </a:spcBef>
              <a:spcAft>
                <a:spcPts val="400"/>
              </a:spcAft>
              <a:defRPr sz="1800"/>
            </a:lvl3pPr>
            <a:lvl4pPr>
              <a:spcBef>
                <a:spcPts val="0"/>
              </a:spcBef>
              <a:spcAft>
                <a:spcPts val="400"/>
              </a:spcAft>
              <a:defRPr sz="1800"/>
            </a:lvl4pPr>
            <a:lvl5pPr>
              <a:spcBef>
                <a:spcPts val="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609607" y="2577646"/>
            <a:ext cx="3482975" cy="423864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6647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Short Header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6"/>
          </p:nvPr>
        </p:nvSpPr>
        <p:spPr>
          <a:xfrm>
            <a:off x="8122192" y="3085642"/>
            <a:ext cx="3474720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1800"/>
            </a:lvl2pPr>
            <a:lvl3pPr>
              <a:spcBef>
                <a:spcPts val="0"/>
              </a:spcBef>
              <a:spcAft>
                <a:spcPts val="400"/>
              </a:spcAft>
              <a:defRPr sz="1800"/>
            </a:lvl3pPr>
            <a:lvl4pPr>
              <a:spcBef>
                <a:spcPts val="0"/>
              </a:spcBef>
              <a:spcAft>
                <a:spcPts val="400"/>
              </a:spcAft>
              <a:defRPr sz="1800"/>
            </a:lvl4pPr>
            <a:lvl5pPr>
              <a:spcBef>
                <a:spcPts val="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8111313" y="2577646"/>
            <a:ext cx="3482975" cy="423864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B5E2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Short Header 3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18"/>
          </p:nvPr>
        </p:nvSpPr>
        <p:spPr>
          <a:xfrm>
            <a:off x="4398553" y="3108785"/>
            <a:ext cx="3474720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1800"/>
            </a:lvl2pPr>
            <a:lvl3pPr>
              <a:spcBef>
                <a:spcPts val="0"/>
              </a:spcBef>
              <a:spcAft>
                <a:spcPts val="400"/>
              </a:spcAft>
              <a:defRPr sz="1800"/>
            </a:lvl3pPr>
            <a:lvl4pPr>
              <a:spcBef>
                <a:spcPts val="0"/>
              </a:spcBef>
              <a:spcAft>
                <a:spcPts val="400"/>
              </a:spcAft>
              <a:defRPr sz="1800"/>
            </a:lvl4pPr>
            <a:lvl5pPr>
              <a:spcBef>
                <a:spcPts val="0"/>
              </a:spcBef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4387674" y="2577646"/>
            <a:ext cx="3482975" cy="423864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77BC1F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Short Header 2</a:t>
            </a:r>
          </a:p>
        </p:txBody>
      </p:sp>
    </p:spTree>
    <p:extLst>
      <p:ext uri="{BB962C8B-B14F-4D97-AF65-F5344CB8AC3E}">
        <p14:creationId xmlns:p14="http://schemas.microsoft.com/office/powerpoint/2010/main" val="373766714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70492E-753E-4EC4-9AE6-EF029A5B88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28B62F6-A1C3-44F3-96E7-0AEA885885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92D599-C61C-43E9-A015-F2A30E132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26631E-7ADB-4C48-9A9E-EEBEA760C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87022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53D066-B279-4243-9270-112EFF0AB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44B566-6873-44C9-A726-F1D5CAA8D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216B67-C162-456F-B182-9BE3373871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40898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8F182-E339-4E50-B2B2-DEC83DD28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81CB1A-74F3-4163-BB66-199D2E5552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C6CA0B-25D7-4926-ACF5-9350FE2427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73DEBA-DA51-40F3-9BD9-4D776C0428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D97D70-1D7A-4177-B9CB-F53E16191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0BBB65-325C-414E-8805-38C03BC90F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96606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3BCA4C-CCFB-4D4A-9C3A-27A807F70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296A01C-F63D-453E-9FF7-084B85C4D7B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EA24620-49FD-408C-B3C5-B8F2C0699B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CCB63D-41D1-4D5C-A186-3669605BF4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FE6E71-E5C6-4612-96FB-2D521A65BC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E02549-46B8-4EC4-96BC-F17ED2C1E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72355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47BE8D-8E58-41C3-9E49-EECDBABF84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A4713-BF80-4218-B453-55DC704E02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C2B64F-3CB0-49CE-9491-E61E4A774B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990C83-6355-47E2-BED6-E8EBBFD582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B7BB99-4512-45C8-B964-9852BC7B8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62377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2C23C57-096A-497E-846E-D8A1D6094E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00D9EBA-3AF1-4BBC-BAB3-66E80E452DE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F506B3-5949-40C0-9D17-3E9E846A5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AF048C-CEA3-41F4-933E-2DB80D5F0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83DB23-791C-4662-B96D-7BC8A2B203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337456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59" y="794"/>
          <a:ext cx="1058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7D5CF0-9205-4514-835C-6971DD42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794"/>
                        <a:ext cx="1058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51368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03792" y="2099759"/>
            <a:ext cx="3682401" cy="27618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51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81447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84273"/>
            <a:ext cx="10987312" cy="5506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708150"/>
            <a:ext cx="10987315" cy="406241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39519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ogram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83805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gram Overview</a:t>
            </a:r>
          </a:p>
        </p:txBody>
      </p:sp>
    </p:spTree>
    <p:extLst>
      <p:ext uri="{BB962C8B-B14F-4D97-AF65-F5344CB8AC3E}">
        <p14:creationId xmlns:p14="http://schemas.microsoft.com/office/powerpoint/2010/main" val="15358909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am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83805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gram Overview</a:t>
            </a:r>
          </a:p>
        </p:txBody>
      </p:sp>
    </p:spTree>
    <p:extLst>
      <p:ext uri="{BB962C8B-B14F-4D97-AF65-F5344CB8AC3E}">
        <p14:creationId xmlns:p14="http://schemas.microsoft.com/office/powerpoint/2010/main" val="28374553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09281" y="389965"/>
            <a:ext cx="11463617" cy="829235"/>
          </a:xfrm>
        </p:spPr>
        <p:txBody>
          <a:bodyPr anchor="t">
            <a:normAutofit/>
          </a:bodyPr>
          <a:lstStyle>
            <a:lvl1pPr algn="l" fontAlgn="b">
              <a:defRPr sz="3600" b="1" i="0" baseline="0">
                <a:solidFill>
                  <a:srgbClr val="69767D"/>
                </a:solidFill>
                <a:latin typeface="arial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2580" y="1573372"/>
            <a:ext cx="11450319" cy="769778"/>
          </a:xfrm>
        </p:spPr>
        <p:txBody>
          <a:bodyPr/>
          <a:lstStyle>
            <a:lvl1pPr marL="0" indent="0" algn="l">
              <a:lnSpc>
                <a:spcPct val="140000"/>
              </a:lnSpc>
              <a:buNone/>
              <a:defRPr sz="2400" b="1" baseline="0">
                <a:solidFill>
                  <a:srgbClr val="3FA9F5"/>
                </a:solidFill>
                <a:latin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22263" y="2667000"/>
            <a:ext cx="11450635" cy="3390900"/>
          </a:xfrm>
        </p:spPr>
        <p:txBody>
          <a:bodyPr/>
          <a:lstStyle>
            <a:lvl1pPr marL="0" indent="0">
              <a:buNone/>
              <a:defRPr sz="2400" b="1" baseline="0">
                <a:solidFill>
                  <a:srgbClr val="69767D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914400" indent="0">
              <a:buNone/>
              <a:defRPr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371600" indent="0">
              <a:buNone/>
              <a:defRPr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1828800" indent="0">
              <a:buNone/>
              <a:defRPr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2657" y="6340959"/>
            <a:ext cx="635155" cy="307836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84083" y="6458267"/>
            <a:ext cx="4152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88A49C-778B-EF45-9D5D-8EAA2E36A3FB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69767D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69767D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731520" y="6463486"/>
            <a:ext cx="94616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9767D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otivating a New Culture of Collections   |  December 20, 2018</a:t>
            </a:r>
          </a:p>
        </p:txBody>
      </p:sp>
    </p:spTree>
    <p:extLst>
      <p:ext uri="{BB962C8B-B14F-4D97-AF65-F5344CB8AC3E}">
        <p14:creationId xmlns:p14="http://schemas.microsoft.com/office/powerpoint/2010/main" val="30864502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Title Blu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322" y="1143000"/>
            <a:ext cx="11179277" cy="16002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23" y="2931459"/>
            <a:ext cx="11179276" cy="802341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tion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5013D4-D06D-43A4-BDC8-658ACCCA7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677406-D7E0-4DA2-AC81-AADCE80034A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Cera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08319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gram 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09597" y="467672"/>
            <a:ext cx="10987315" cy="58804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77BC1F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+mn-cs"/>
              </a:rPr>
              <a:t>Program History</a:t>
            </a:r>
          </a:p>
        </p:txBody>
      </p:sp>
    </p:spTree>
    <p:extLst>
      <p:ext uri="{BB962C8B-B14F-4D97-AF65-F5344CB8AC3E}">
        <p14:creationId xmlns:p14="http://schemas.microsoft.com/office/powerpoint/2010/main" val="18549734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N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09601" y="469948"/>
            <a:ext cx="10987315" cy="65226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77BC1F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+mn-cs"/>
              </a:rPr>
              <a:t>Client Needs</a:t>
            </a:r>
          </a:p>
        </p:txBody>
      </p:sp>
    </p:spTree>
    <p:extLst>
      <p:ext uri="{BB962C8B-B14F-4D97-AF65-F5344CB8AC3E}">
        <p14:creationId xmlns:p14="http://schemas.microsoft.com/office/powerpoint/2010/main" val="4135924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f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472108"/>
            <a:ext cx="10987088" cy="800205"/>
          </a:xfrm>
        </p:spPr>
        <p:txBody>
          <a:bodyPr anchor="ctr" anchorCtr="0"/>
          <a:lstStyle>
            <a:lvl1pPr marL="0" indent="0">
              <a:buNone/>
              <a:defRPr sz="44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5928483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yment Che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468" y="360394"/>
            <a:ext cx="10987088" cy="800205"/>
          </a:xfrm>
        </p:spPr>
        <p:txBody>
          <a:bodyPr anchor="ctr" anchorCtr="0"/>
          <a:lstStyle>
            <a:lvl1pPr marL="0" indent="0">
              <a:buNone/>
              <a:defRPr sz="44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ayments Checku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53883" y="2090221"/>
            <a:ext cx="2657209" cy="327254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77BC1F"/>
                </a:solidFill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US" dirty="0"/>
              <a:t>Type 1 Payments</a:t>
            </a:r>
          </a:p>
        </p:txBody>
      </p:sp>
      <p:cxnSp>
        <p:nvCxnSpPr>
          <p:cNvPr id="10" name="Straight Connector 9"/>
          <p:cNvCxnSpPr>
            <a:cxnSpLocks/>
          </p:cNvCxnSpPr>
          <p:nvPr/>
        </p:nvCxnSpPr>
        <p:spPr>
          <a:xfrm>
            <a:off x="609601" y="3026352"/>
            <a:ext cx="10987315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53547" y="2417763"/>
            <a:ext cx="2657476" cy="6080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Insert a short sentence</a:t>
            </a:r>
            <a:br>
              <a:rPr lang="en-US" dirty="0"/>
            </a:br>
            <a:r>
              <a:rPr lang="en-US" dirty="0"/>
              <a:t>of descriptive text her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53816" y="3313114"/>
            <a:ext cx="2657209" cy="327254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006647"/>
                </a:solidFill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US" dirty="0"/>
              <a:t>Type 1 Payments</a:t>
            </a:r>
          </a:p>
        </p:txBody>
      </p:sp>
      <p:cxnSp>
        <p:nvCxnSpPr>
          <p:cNvPr id="14" name="Straight Connector 13"/>
          <p:cNvCxnSpPr>
            <a:cxnSpLocks/>
          </p:cNvCxnSpPr>
          <p:nvPr/>
        </p:nvCxnSpPr>
        <p:spPr>
          <a:xfrm>
            <a:off x="609532" y="4249244"/>
            <a:ext cx="10987315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53483" y="3640655"/>
            <a:ext cx="2657476" cy="6080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Insert a short sentence</a:t>
            </a:r>
            <a:br>
              <a:rPr lang="en-US" dirty="0"/>
            </a:br>
            <a:r>
              <a:rPr lang="en-US" dirty="0"/>
              <a:t>of descriptive text he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53747" y="4536004"/>
            <a:ext cx="2657209" cy="327254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00B5E2"/>
                </a:solidFill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US" dirty="0"/>
              <a:t>Type 1 Payments</a:t>
            </a:r>
          </a:p>
        </p:txBody>
      </p: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609468" y="5472135"/>
            <a:ext cx="10987315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53414" y="4863546"/>
            <a:ext cx="2657476" cy="6080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Insert a short sentence</a:t>
            </a:r>
            <a:br>
              <a:rPr lang="en-US" dirty="0"/>
            </a:br>
            <a:r>
              <a:rPr lang="en-US" dirty="0"/>
              <a:t>of descriptive text here</a:t>
            </a:r>
          </a:p>
        </p:txBody>
      </p:sp>
    </p:spTree>
    <p:extLst>
      <p:ext uri="{BB962C8B-B14F-4D97-AF65-F5344CB8AC3E}">
        <p14:creationId xmlns:p14="http://schemas.microsoft.com/office/powerpoint/2010/main" val="245951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714" y="479422"/>
            <a:ext cx="10987088" cy="800205"/>
          </a:xfrm>
        </p:spPr>
        <p:txBody>
          <a:bodyPr anchor="ctr" anchorCtr="0"/>
          <a:lstStyle>
            <a:lvl1pPr marL="0" indent="0">
              <a:buNone/>
              <a:defRPr sz="44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09602" y="2292351"/>
            <a:ext cx="5194300" cy="376555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402390" y="2292351"/>
            <a:ext cx="5194300" cy="376555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2" y="1755779"/>
            <a:ext cx="5194300" cy="450977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6647"/>
                </a:solidFill>
              </a:defRPr>
            </a:lvl1pPr>
            <a:lvl2pPr marL="457200" indent="0">
              <a:buNone/>
              <a:defRPr b="1">
                <a:solidFill>
                  <a:srgbClr val="77BC1F"/>
                </a:solidFill>
              </a:defRPr>
            </a:lvl2pPr>
            <a:lvl3pPr marL="914400" indent="0">
              <a:buNone/>
              <a:defRPr b="1">
                <a:solidFill>
                  <a:srgbClr val="77BC1F"/>
                </a:solidFill>
              </a:defRPr>
            </a:lvl3pPr>
            <a:lvl4pPr marL="1371600" indent="0">
              <a:buNone/>
              <a:defRPr b="1">
                <a:solidFill>
                  <a:srgbClr val="77BC1F"/>
                </a:solidFill>
              </a:defRPr>
            </a:lvl4pPr>
            <a:lvl5pPr marL="1828800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402390" y="1755779"/>
            <a:ext cx="5194300" cy="450977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6647"/>
                </a:solidFill>
              </a:defRPr>
            </a:lvl1pPr>
            <a:lvl2pPr marL="457200" indent="0">
              <a:buNone/>
              <a:defRPr b="1">
                <a:solidFill>
                  <a:srgbClr val="77BC1F"/>
                </a:solidFill>
              </a:defRPr>
            </a:lvl2pPr>
            <a:lvl3pPr marL="914400" indent="0">
              <a:buNone/>
              <a:defRPr b="1">
                <a:solidFill>
                  <a:srgbClr val="77BC1F"/>
                </a:solidFill>
              </a:defRPr>
            </a:lvl3pPr>
            <a:lvl4pPr marL="1371600" indent="0">
              <a:buNone/>
              <a:defRPr b="1">
                <a:solidFill>
                  <a:srgbClr val="77BC1F"/>
                </a:solidFill>
              </a:defRPr>
            </a:lvl4pPr>
            <a:lvl5pPr marL="1828800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</p:spTree>
    <p:extLst>
      <p:ext uri="{BB962C8B-B14F-4D97-AF65-F5344CB8AC3E}">
        <p14:creationId xmlns:p14="http://schemas.microsoft.com/office/powerpoint/2010/main" val="829146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Segment-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2" y="468958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2" y="1981200"/>
            <a:ext cx="3714751" cy="569602"/>
          </a:xfrm>
        </p:spPr>
        <p:txBody>
          <a:bodyPr anchor="b" anchorCtr="0"/>
          <a:lstStyle>
            <a:lvl1pPr marL="0" indent="0" algn="r">
              <a:buNone/>
              <a:defRPr sz="2200" b="1">
                <a:solidFill>
                  <a:srgbClr val="77BC1F"/>
                </a:solidFill>
              </a:defRPr>
            </a:lvl1pPr>
          </a:lstStyle>
          <a:p>
            <a:pPr lvl="0"/>
            <a:r>
              <a:rPr lang="en-US" dirty="0"/>
              <a:t>Strategy 01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2" y="2611629"/>
            <a:ext cx="3714751" cy="1123319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2" y="4087368"/>
            <a:ext cx="3714751" cy="578262"/>
          </a:xfrm>
        </p:spPr>
        <p:txBody>
          <a:bodyPr anchor="b" anchorCtr="0"/>
          <a:lstStyle>
            <a:lvl1pPr marL="0" indent="0" algn="r">
              <a:buNone/>
              <a:defRPr sz="2200" b="1">
                <a:solidFill>
                  <a:srgbClr val="979EA1"/>
                </a:solidFill>
              </a:defRPr>
            </a:lvl1pPr>
          </a:lstStyle>
          <a:p>
            <a:pPr lvl="0"/>
            <a:r>
              <a:rPr lang="en-US" dirty="0"/>
              <a:t>Strategy 02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2" y="4726453"/>
            <a:ext cx="3714751" cy="1151616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7867653" y="1932432"/>
            <a:ext cx="3702559" cy="569602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Strategy 03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7867653" y="2562860"/>
            <a:ext cx="3702559" cy="1123319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7867653" y="4038601"/>
            <a:ext cx="3702559" cy="578262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B5E2"/>
                </a:solidFill>
              </a:defRPr>
            </a:lvl1pPr>
          </a:lstStyle>
          <a:p>
            <a:pPr lvl="0"/>
            <a:r>
              <a:rPr lang="en-US" dirty="0"/>
              <a:t>Strategy 04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67653" y="4677686"/>
            <a:ext cx="3702559" cy="1151616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4463982" y="2254384"/>
            <a:ext cx="3241305" cy="3251066"/>
            <a:chOff x="4445794" y="2242036"/>
            <a:chExt cx="2985293" cy="2994283"/>
          </a:xfrm>
        </p:grpSpPr>
        <p:pic>
          <p:nvPicPr>
            <p:cNvPr id="2" name="Graphic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445794" y="2242036"/>
              <a:ext cx="1657350" cy="1476375"/>
            </a:xfrm>
            <a:prstGeom prst="rect">
              <a:avLst/>
            </a:prstGeom>
          </p:spPr>
        </p:pic>
        <p:pic>
          <p:nvPicPr>
            <p:cNvPr id="6" name="Graphic 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54712" y="2249606"/>
              <a:ext cx="1476375" cy="1657350"/>
            </a:xfrm>
            <a:prstGeom prst="rect">
              <a:avLst/>
            </a:prstGeom>
          </p:spPr>
        </p:pic>
        <p:pic>
          <p:nvPicPr>
            <p:cNvPr id="22" name="Graphic 2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73737" y="3759944"/>
              <a:ext cx="1657350" cy="1476375"/>
            </a:xfrm>
            <a:prstGeom prst="rect">
              <a:avLst/>
            </a:prstGeom>
          </p:spPr>
        </p:pic>
        <p:pic>
          <p:nvPicPr>
            <p:cNvPr id="23" name="Graphic 22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445794" y="3565146"/>
              <a:ext cx="1476375" cy="16573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120300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gment-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438859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210661" y="2111560"/>
            <a:ext cx="5933131" cy="354922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77BC1F"/>
                </a:solidFill>
              </a:defRPr>
            </a:lvl1pPr>
          </a:lstStyle>
          <a:p>
            <a:pPr lvl="0"/>
            <a:r>
              <a:rPr lang="en-US" dirty="0"/>
              <a:t>Insert Header 01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210661" y="2524257"/>
            <a:ext cx="5933131" cy="656704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grpSp>
        <p:nvGrpSpPr>
          <p:cNvPr id="26" name="Group 25"/>
          <p:cNvGrpSpPr/>
          <p:nvPr/>
        </p:nvGrpSpPr>
        <p:grpSpPr>
          <a:xfrm flipH="1">
            <a:off x="1008650" y="2111565"/>
            <a:ext cx="3801177" cy="3811101"/>
            <a:chOff x="4375944" y="2384936"/>
            <a:chExt cx="3446970" cy="3459616"/>
          </a:xfrm>
        </p:grpSpPr>
        <p:pic>
          <p:nvPicPr>
            <p:cNvPr id="23" name="Graphic 2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75944" y="3215652"/>
              <a:ext cx="1714500" cy="2628900"/>
            </a:xfrm>
            <a:prstGeom prst="rect">
              <a:avLst/>
            </a:prstGeom>
          </p:spPr>
        </p:pic>
        <p:pic>
          <p:nvPicPr>
            <p:cNvPr id="24" name="Graphic 2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21753" y="2384936"/>
              <a:ext cx="2943225" cy="1190625"/>
            </a:xfrm>
            <a:prstGeom prst="rect">
              <a:avLst/>
            </a:prstGeom>
          </p:spPr>
        </p:pic>
        <p:pic>
          <p:nvPicPr>
            <p:cNvPr id="25" name="Graphic 2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98864" y="3272802"/>
              <a:ext cx="1924050" cy="2571750"/>
            </a:xfrm>
            <a:prstGeom prst="rect">
              <a:avLst/>
            </a:prstGeom>
          </p:spPr>
        </p:pic>
      </p:grpSp>
      <p:sp>
        <p:nvSpPr>
          <p:cNvPr id="2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5210661" y="3469217"/>
            <a:ext cx="5933131" cy="367486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Header 02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210661" y="3894478"/>
            <a:ext cx="5933131" cy="656704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210661" y="4857753"/>
            <a:ext cx="5933131" cy="341909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B5E2"/>
                </a:solidFill>
              </a:defRPr>
            </a:lvl1pPr>
          </a:lstStyle>
          <a:p>
            <a:pPr lvl="0"/>
            <a:r>
              <a:rPr lang="en-US" dirty="0"/>
              <a:t>Insert Header 03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210661" y="5257434"/>
            <a:ext cx="5933131" cy="656704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text to describe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 hasCustomPrompt="1"/>
          </p:nvPr>
        </p:nvSpPr>
        <p:spPr>
          <a:xfrm rot="15727631">
            <a:off x="1412840" y="2565591"/>
            <a:ext cx="2893465" cy="2926229"/>
          </a:xfrm>
        </p:spPr>
        <p:txBody>
          <a:bodyPr>
            <a:prstTxWarp prst="textCircle">
              <a:avLst>
                <a:gd name="adj" fmla="val 18328259"/>
              </a:avLst>
            </a:prstTxWarp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  Header01</a:t>
            </a:r>
          </a:p>
        </p:txBody>
      </p:sp>
      <p:sp>
        <p:nvSpPr>
          <p:cNvPr id="36" name="Content Placeholder 33"/>
          <p:cNvSpPr>
            <a:spLocks noGrp="1"/>
          </p:cNvSpPr>
          <p:nvPr>
            <p:ph sz="quarter" idx="25" hasCustomPrompt="1"/>
          </p:nvPr>
        </p:nvSpPr>
        <p:spPr>
          <a:xfrm rot="1424131">
            <a:off x="1452122" y="2531626"/>
            <a:ext cx="2893465" cy="2926230"/>
          </a:xfrm>
        </p:spPr>
        <p:txBody>
          <a:bodyPr>
            <a:prstTxWarp prst="textCircle">
              <a:avLst>
                <a:gd name="adj" fmla="val 18328259"/>
              </a:avLst>
            </a:prstTxWarp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  Header03</a:t>
            </a:r>
          </a:p>
        </p:txBody>
      </p:sp>
      <p:sp>
        <p:nvSpPr>
          <p:cNvPr id="37" name="Content Placeholder 33"/>
          <p:cNvSpPr>
            <a:spLocks noGrp="1"/>
          </p:cNvSpPr>
          <p:nvPr>
            <p:ph sz="quarter" idx="26" hasCustomPrompt="1"/>
          </p:nvPr>
        </p:nvSpPr>
        <p:spPr>
          <a:xfrm rot="8351213">
            <a:off x="1486182" y="2575698"/>
            <a:ext cx="2893465" cy="2926230"/>
          </a:xfrm>
        </p:spPr>
        <p:txBody>
          <a:bodyPr>
            <a:prstTxWarp prst="textCircle">
              <a:avLst>
                <a:gd name="adj" fmla="val 18328259"/>
              </a:avLst>
            </a:prstTxWarp>
          </a:bodyPr>
          <a:lstStyle>
            <a:lvl1pPr marL="0" indent="0" algn="ct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   Header02</a:t>
            </a:r>
          </a:p>
        </p:txBody>
      </p:sp>
    </p:spTree>
    <p:extLst>
      <p:ext uri="{BB962C8B-B14F-4D97-AF65-F5344CB8AC3E}">
        <p14:creationId xmlns:p14="http://schemas.microsoft.com/office/powerpoint/2010/main" val="30542015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488734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09600" y="2344964"/>
            <a:ext cx="6047232" cy="3714524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2000"/>
            </a:lvl1pPr>
            <a:lvl2pPr>
              <a:lnSpc>
                <a:spcPct val="100000"/>
              </a:lnSpc>
              <a:spcAft>
                <a:spcPts val="400"/>
              </a:spcAft>
              <a:defRPr sz="1800"/>
            </a:lvl2pPr>
            <a:lvl3pPr>
              <a:lnSpc>
                <a:spcPct val="100000"/>
              </a:lnSpc>
              <a:spcAft>
                <a:spcPts val="400"/>
              </a:spcAft>
              <a:defRPr sz="1800"/>
            </a:lvl3pPr>
            <a:lvl4pPr>
              <a:lnSpc>
                <a:spcPct val="100000"/>
              </a:lnSpc>
              <a:spcAft>
                <a:spcPts val="400"/>
              </a:spcAft>
              <a:defRPr sz="1800"/>
            </a:lvl4pPr>
            <a:lvl5pPr>
              <a:lnSpc>
                <a:spcPct val="100000"/>
              </a:lnSpc>
              <a:spcAft>
                <a:spcPts val="400"/>
              </a:spcAft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2" y="1905003"/>
            <a:ext cx="6046788" cy="349377"/>
          </a:xfrm>
        </p:spPr>
        <p:txBody>
          <a:bodyPr anchor="b" anchorCtr="0"/>
          <a:lstStyle>
            <a:lvl1pPr marL="0" indent="0">
              <a:buNone/>
              <a:defRPr sz="2400" b="1">
                <a:solidFill>
                  <a:srgbClr val="77BC1F"/>
                </a:solidFill>
              </a:defRPr>
            </a:lvl1pPr>
            <a:lvl2pPr marL="457200" indent="0">
              <a:buNone/>
              <a:defRPr b="1">
                <a:solidFill>
                  <a:srgbClr val="77BC1F"/>
                </a:solidFill>
              </a:defRPr>
            </a:lvl2pPr>
            <a:lvl3pPr marL="914400" indent="0">
              <a:buNone/>
              <a:defRPr b="1">
                <a:solidFill>
                  <a:srgbClr val="77BC1F"/>
                </a:solidFill>
              </a:defRPr>
            </a:lvl3pPr>
            <a:lvl4pPr marL="1371600" indent="0">
              <a:buNone/>
              <a:defRPr b="1">
                <a:solidFill>
                  <a:srgbClr val="77BC1F"/>
                </a:solidFill>
              </a:defRPr>
            </a:lvl4pPr>
            <a:lvl5pPr marL="1828800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 hasCustomPrompt="1"/>
          </p:nvPr>
        </p:nvSpPr>
        <p:spPr>
          <a:xfrm>
            <a:off x="6937373" y="1905000"/>
            <a:ext cx="4659315" cy="4154488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rgbClr val="979EA1"/>
                </a:solidFill>
              </a:defRPr>
            </a:lvl1pPr>
          </a:lstStyle>
          <a:p>
            <a:pPr lvl="0"/>
            <a:r>
              <a:rPr lang="en-US" dirty="0"/>
              <a:t>Insert chart or picture or other content here</a:t>
            </a:r>
          </a:p>
        </p:txBody>
      </p:sp>
    </p:spTree>
    <p:extLst>
      <p:ext uri="{BB962C8B-B14F-4D97-AF65-F5344CB8AC3E}">
        <p14:creationId xmlns:p14="http://schemas.microsoft.com/office/powerpoint/2010/main" val="10648415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als/Next Step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89100" y="3108785"/>
            <a:ext cx="2540000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1689236" y="2019300"/>
            <a:ext cx="2537035" cy="98221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None/>
              <a:defRPr sz="2200" b="1">
                <a:solidFill>
                  <a:srgbClr val="006647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Insert Program Header 1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half" idx="16"/>
          </p:nvPr>
        </p:nvSpPr>
        <p:spPr>
          <a:xfrm>
            <a:off x="9133334" y="3156742"/>
            <a:ext cx="2463580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9133577" y="2067258"/>
            <a:ext cx="2460707" cy="98221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None/>
              <a:defRPr sz="2200" b="1">
                <a:solidFill>
                  <a:srgbClr val="00B5E2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Insert Program Header 1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sz="half" idx="18"/>
          </p:nvPr>
        </p:nvSpPr>
        <p:spPr>
          <a:xfrm>
            <a:off x="5463034" y="3156742"/>
            <a:ext cx="2474468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9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5463169" y="2067258"/>
            <a:ext cx="2471579" cy="98221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None/>
              <a:defRPr sz="2200" b="1">
                <a:solidFill>
                  <a:srgbClr val="77BC1F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Insert Program Header 1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92335"/>
            <a:ext cx="10987312" cy="55063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Insert Header Here</a:t>
            </a:r>
          </a:p>
        </p:txBody>
      </p:sp>
    </p:spTree>
    <p:extLst>
      <p:ext uri="{BB962C8B-B14F-4D97-AF65-F5344CB8AC3E}">
        <p14:creationId xmlns:p14="http://schemas.microsoft.com/office/powerpoint/2010/main" val="14518105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als/Next Step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17872" y="3319951"/>
            <a:ext cx="2540000" cy="2862206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617872" y="2558362"/>
            <a:ext cx="2537035" cy="696902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006647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Name Goal 1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half" idx="16" hasCustomPrompt="1"/>
          </p:nvPr>
        </p:nvSpPr>
        <p:spPr>
          <a:xfrm>
            <a:off x="6328799" y="3319957"/>
            <a:ext cx="2463580" cy="288559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35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6331672" y="2558362"/>
            <a:ext cx="2460707" cy="696902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979EA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Name Goal 3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3516711" y="3319952"/>
            <a:ext cx="2474468" cy="2885598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39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3519601" y="2558362"/>
            <a:ext cx="2471579" cy="696902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77BC1F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Name Goal 2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20" hasCustomPrompt="1"/>
          </p:nvPr>
        </p:nvSpPr>
        <p:spPr>
          <a:xfrm>
            <a:off x="9130703" y="3319957"/>
            <a:ext cx="2463580" cy="288559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/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1" hasCustomPrompt="1"/>
          </p:nvPr>
        </p:nvSpPr>
        <p:spPr>
          <a:xfrm>
            <a:off x="9133577" y="2558362"/>
            <a:ext cx="2460707" cy="696902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00B5E2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Name Goal 3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59087"/>
            <a:ext cx="10987312" cy="55063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Insert Header Here</a:t>
            </a:r>
          </a:p>
        </p:txBody>
      </p:sp>
    </p:spTree>
    <p:extLst>
      <p:ext uri="{BB962C8B-B14F-4D97-AF65-F5344CB8AC3E}">
        <p14:creationId xmlns:p14="http://schemas.microsoft.com/office/powerpoint/2010/main" val="3655126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Title Green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322" y="1143000"/>
            <a:ext cx="11179277" cy="16002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23" y="2931459"/>
            <a:ext cx="11179276" cy="802341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tion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5013D4-D06D-43A4-BDC8-658ACCCA7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677406-D7E0-4DA2-AC81-AADCE80034A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Cera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98556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oals: 4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75711"/>
            <a:ext cx="10987312" cy="55063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Goals Header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 hasCustomPrompt="1"/>
          </p:nvPr>
        </p:nvSpPr>
        <p:spPr>
          <a:xfrm>
            <a:off x="703263" y="3518208"/>
            <a:ext cx="2435404" cy="2455703"/>
          </a:xfrm>
        </p:spPr>
        <p:txBody>
          <a:bodyPr/>
          <a:lstStyle>
            <a:lvl1pPr marL="169863" indent="-169863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/>
            </a:lvl1pPr>
            <a:lvl2pPr marL="457200" indent="0" algn="l">
              <a:buNone/>
              <a:defRPr sz="1800"/>
            </a:lvl2pPr>
            <a:lvl3pPr marL="914400" indent="0" algn="l">
              <a:buNone/>
              <a:defRPr sz="1800"/>
            </a:lvl3pPr>
            <a:lvl4pPr marL="1371600" indent="0" algn="l">
              <a:buNone/>
              <a:defRPr sz="1800"/>
            </a:lvl4pPr>
            <a:lvl5pPr marL="1828800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23" name="Content Placeholder 21"/>
          <p:cNvSpPr>
            <a:spLocks noGrp="1"/>
          </p:cNvSpPr>
          <p:nvPr>
            <p:ph sz="quarter" idx="18" hasCustomPrompt="1"/>
          </p:nvPr>
        </p:nvSpPr>
        <p:spPr>
          <a:xfrm>
            <a:off x="3483242" y="3518208"/>
            <a:ext cx="2357964" cy="2455703"/>
          </a:xfrm>
        </p:spPr>
        <p:txBody>
          <a:bodyPr/>
          <a:lstStyle>
            <a:lvl1pPr marL="169863" indent="-169863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/>
            </a:lvl1pPr>
            <a:lvl2pPr marL="457200" indent="0" algn="l">
              <a:buNone/>
              <a:defRPr sz="1800"/>
            </a:lvl2pPr>
            <a:lvl3pPr marL="914400" indent="0" algn="l">
              <a:buNone/>
              <a:defRPr sz="1800"/>
            </a:lvl3pPr>
            <a:lvl4pPr marL="1371600" indent="0" algn="l">
              <a:buNone/>
              <a:defRPr sz="1800"/>
            </a:lvl4pPr>
            <a:lvl5pPr marL="1828800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25" name="Content Placeholder 21"/>
          <p:cNvSpPr>
            <a:spLocks noGrp="1"/>
          </p:cNvSpPr>
          <p:nvPr>
            <p:ph sz="quarter" idx="19" hasCustomPrompt="1"/>
          </p:nvPr>
        </p:nvSpPr>
        <p:spPr>
          <a:xfrm>
            <a:off x="6185778" y="3516122"/>
            <a:ext cx="2362073" cy="2455703"/>
          </a:xfrm>
        </p:spPr>
        <p:txBody>
          <a:bodyPr/>
          <a:lstStyle>
            <a:lvl1pPr marL="169863" indent="-169863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/>
            </a:lvl1pPr>
            <a:lvl2pPr marL="457200" indent="0" algn="l">
              <a:buNone/>
              <a:defRPr sz="1800"/>
            </a:lvl2pPr>
            <a:lvl3pPr marL="914400" indent="0" algn="l">
              <a:buNone/>
              <a:defRPr sz="1800"/>
            </a:lvl3pPr>
            <a:lvl4pPr marL="1371600" indent="0" algn="l">
              <a:buNone/>
              <a:defRPr sz="1800"/>
            </a:lvl4pPr>
            <a:lvl5pPr marL="1828800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26" name="Content Placeholder 21"/>
          <p:cNvSpPr>
            <a:spLocks noGrp="1"/>
          </p:cNvSpPr>
          <p:nvPr>
            <p:ph sz="quarter" idx="20" hasCustomPrompt="1"/>
          </p:nvPr>
        </p:nvSpPr>
        <p:spPr>
          <a:xfrm>
            <a:off x="8892421" y="3516122"/>
            <a:ext cx="2431091" cy="2455703"/>
          </a:xfrm>
        </p:spPr>
        <p:txBody>
          <a:bodyPr/>
          <a:lstStyle>
            <a:lvl1pPr marL="169863" indent="-169863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/>
            </a:lvl1pPr>
            <a:lvl2pPr marL="457200" indent="0" algn="l">
              <a:buNone/>
              <a:defRPr sz="1800"/>
            </a:lvl2pPr>
            <a:lvl3pPr marL="914400" indent="0" algn="l">
              <a:buNone/>
              <a:defRPr sz="1800"/>
            </a:lvl3pPr>
            <a:lvl4pPr marL="1371600" indent="0" algn="l">
              <a:buNone/>
              <a:defRPr sz="1800"/>
            </a:lvl4pPr>
            <a:lvl5pPr marL="1828800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806455" y="1934394"/>
            <a:ext cx="2070143" cy="1331567"/>
          </a:xfr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3852133" y="1918887"/>
            <a:ext cx="2038400" cy="1331567"/>
          </a:xfr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31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6604001" y="1918887"/>
            <a:ext cx="2024091" cy="1331567"/>
          </a:xfr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33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9285111" y="1918887"/>
            <a:ext cx="2038400" cy="1331567"/>
          </a:xfr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</p:spTree>
    <p:extLst>
      <p:ext uri="{BB962C8B-B14F-4D97-AF65-F5344CB8AC3E}">
        <p14:creationId xmlns:p14="http://schemas.microsoft.com/office/powerpoint/2010/main" val="33160903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-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75711"/>
            <a:ext cx="10987312" cy="55063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Insert Header He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46100" y="1901953"/>
            <a:ext cx="1860043" cy="522644"/>
          </a:xfrm>
        </p:spPr>
        <p:txBody>
          <a:bodyPr anchor="b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4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68969" y="1901953"/>
            <a:ext cx="1860043" cy="522644"/>
          </a:xfrm>
        </p:spPr>
        <p:txBody>
          <a:bodyPr anchor="b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46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767453" y="1893477"/>
            <a:ext cx="1860043" cy="522644"/>
          </a:xfrm>
        </p:spPr>
        <p:txBody>
          <a:bodyPr anchor="b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47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9931081" y="1881054"/>
            <a:ext cx="1860043" cy="522644"/>
          </a:xfrm>
        </p:spPr>
        <p:txBody>
          <a:bodyPr anchor="b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375488" y="2688528"/>
            <a:ext cx="1860043" cy="522644"/>
          </a:xfrm>
        </p:spPr>
        <p:txBody>
          <a:bodyPr anchor="b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2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498357" y="2688528"/>
            <a:ext cx="1860043" cy="522644"/>
          </a:xfrm>
        </p:spPr>
        <p:txBody>
          <a:bodyPr anchor="b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7596841" y="2680050"/>
            <a:ext cx="1860043" cy="522644"/>
          </a:xfrm>
        </p:spPr>
        <p:txBody>
          <a:bodyPr anchor="b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5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2954973" y="4664635"/>
            <a:ext cx="1860043" cy="522644"/>
          </a:xfrm>
        </p:spPr>
        <p:txBody>
          <a:bodyPr anchor="t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6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6053456" y="4656158"/>
            <a:ext cx="1860043" cy="522644"/>
          </a:xfrm>
        </p:spPr>
        <p:txBody>
          <a:bodyPr anchor="t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7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9217085" y="4643737"/>
            <a:ext cx="1860043" cy="522644"/>
          </a:xfrm>
        </p:spPr>
        <p:txBody>
          <a:bodyPr anchor="t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8" name="Text Placehold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2126496" y="5438070"/>
            <a:ext cx="1860043" cy="522644"/>
          </a:xfrm>
        </p:spPr>
        <p:txBody>
          <a:bodyPr anchor="t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9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5249364" y="5438070"/>
            <a:ext cx="1860043" cy="522644"/>
          </a:xfrm>
        </p:spPr>
        <p:txBody>
          <a:bodyPr anchor="t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60" name="Text Placehold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8347845" y="5429593"/>
            <a:ext cx="1860043" cy="522644"/>
          </a:xfrm>
        </p:spPr>
        <p:txBody>
          <a:bodyPr anchor="t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65" name="Text Placehold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551245" y="4666332"/>
            <a:ext cx="1860043" cy="522644"/>
          </a:xfrm>
        </p:spPr>
        <p:txBody>
          <a:bodyPr anchor="t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</p:spTree>
    <p:extLst>
      <p:ext uri="{BB962C8B-B14F-4D97-AF65-F5344CB8AC3E}">
        <p14:creationId xmlns:p14="http://schemas.microsoft.com/office/powerpoint/2010/main" val="37155196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-P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480421"/>
            <a:ext cx="10987088" cy="800205"/>
          </a:xfrm>
        </p:spPr>
        <p:txBody>
          <a:bodyPr anchor="ctr" anchorCtr="0"/>
          <a:lstStyle>
            <a:lvl1pPr marL="0" indent="0">
              <a:buNone/>
              <a:defRPr sz="44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Timeline Title</a:t>
            </a:r>
          </a:p>
        </p:txBody>
      </p: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609600" y="5770539"/>
            <a:ext cx="11019967" cy="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7815277" y="4476695"/>
            <a:ext cx="588623" cy="605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+mn-cs"/>
              </a:rPr>
              <a:t>2018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787632" y="2885965"/>
            <a:ext cx="1819275" cy="421387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77BC1F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787632" y="3372206"/>
            <a:ext cx="1819275" cy="1152170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79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2990052" y="2046209"/>
            <a:ext cx="1819275" cy="430827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006647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2</a:t>
            </a:r>
          </a:p>
        </p:txBody>
      </p:sp>
      <p:sp>
        <p:nvSpPr>
          <p:cNvPr id="80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2990052" y="2541891"/>
            <a:ext cx="1819275" cy="120246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81" name="Text Placeholder 75"/>
          <p:cNvSpPr>
            <a:spLocks noGrp="1"/>
          </p:cNvSpPr>
          <p:nvPr>
            <p:ph type="body" sz="quarter" idx="18" hasCustomPrompt="1"/>
          </p:nvPr>
        </p:nvSpPr>
        <p:spPr>
          <a:xfrm>
            <a:off x="5192469" y="2671689"/>
            <a:ext cx="1819275" cy="446872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979EA1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3</a:t>
            </a:r>
          </a:p>
        </p:txBody>
      </p:sp>
      <p:sp>
        <p:nvSpPr>
          <p:cNvPr id="82" name="Text Placeholder 77"/>
          <p:cNvSpPr>
            <a:spLocks noGrp="1"/>
          </p:cNvSpPr>
          <p:nvPr>
            <p:ph type="body" sz="quarter" idx="19" hasCustomPrompt="1"/>
          </p:nvPr>
        </p:nvSpPr>
        <p:spPr>
          <a:xfrm>
            <a:off x="5192469" y="3183418"/>
            <a:ext cx="1819275" cy="122829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83" name="Text Placeholder 75"/>
          <p:cNvSpPr>
            <a:spLocks noGrp="1"/>
          </p:cNvSpPr>
          <p:nvPr>
            <p:ph type="body" sz="quarter" idx="20" hasCustomPrompt="1"/>
          </p:nvPr>
        </p:nvSpPr>
        <p:spPr>
          <a:xfrm>
            <a:off x="7402797" y="2025690"/>
            <a:ext cx="1819275" cy="446872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FFCF0B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4</a:t>
            </a:r>
          </a:p>
        </p:txBody>
      </p:sp>
      <p:sp>
        <p:nvSpPr>
          <p:cNvPr id="84" name="Text Placeholder 77"/>
          <p:cNvSpPr>
            <a:spLocks noGrp="1"/>
          </p:cNvSpPr>
          <p:nvPr>
            <p:ph type="body" sz="quarter" idx="21" hasCustomPrompt="1"/>
          </p:nvPr>
        </p:nvSpPr>
        <p:spPr>
          <a:xfrm>
            <a:off x="7402797" y="2537420"/>
            <a:ext cx="1819275" cy="122829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85" name="Text Placeholder 75"/>
          <p:cNvSpPr>
            <a:spLocks noGrp="1"/>
          </p:cNvSpPr>
          <p:nvPr>
            <p:ph type="body" sz="quarter" idx="22" hasCustomPrompt="1"/>
          </p:nvPr>
        </p:nvSpPr>
        <p:spPr>
          <a:xfrm>
            <a:off x="9596697" y="2688660"/>
            <a:ext cx="1819275" cy="446872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00B5E2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5</a:t>
            </a:r>
          </a:p>
        </p:txBody>
      </p:sp>
      <p:sp>
        <p:nvSpPr>
          <p:cNvPr id="86" name="Text Placeholder 77"/>
          <p:cNvSpPr>
            <a:spLocks noGrp="1"/>
          </p:cNvSpPr>
          <p:nvPr>
            <p:ph type="body" sz="quarter" idx="23" hasCustomPrompt="1"/>
          </p:nvPr>
        </p:nvSpPr>
        <p:spPr>
          <a:xfrm>
            <a:off x="9596697" y="3200390"/>
            <a:ext cx="1819275" cy="122829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</p:spTree>
    <p:extLst>
      <p:ext uri="{BB962C8B-B14F-4D97-AF65-F5344CB8AC3E}">
        <p14:creationId xmlns:p14="http://schemas.microsoft.com/office/powerpoint/2010/main" val="338500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-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505356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Timeline Title</a:t>
            </a:r>
          </a:p>
        </p:txBody>
      </p: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609600" y="5770539"/>
            <a:ext cx="11019967" cy="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7815277" y="4476695"/>
            <a:ext cx="588623" cy="605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+mn-cs"/>
              </a:rPr>
              <a:t>2018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994058" y="2885965"/>
            <a:ext cx="1536649" cy="42138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77BC1F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994056" y="3372206"/>
            <a:ext cx="1650955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79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3264133" y="2036375"/>
            <a:ext cx="1488043" cy="43082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6647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2</a:t>
            </a:r>
          </a:p>
        </p:txBody>
      </p:sp>
      <p:sp>
        <p:nvSpPr>
          <p:cNvPr id="81" name="Text Placeholder 75"/>
          <p:cNvSpPr>
            <a:spLocks noGrp="1"/>
          </p:cNvSpPr>
          <p:nvPr>
            <p:ph type="body" sz="quarter" idx="18" hasCustomPrompt="1"/>
          </p:nvPr>
        </p:nvSpPr>
        <p:spPr>
          <a:xfrm>
            <a:off x="5440009" y="2701184"/>
            <a:ext cx="1476183" cy="44687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979EA1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3</a:t>
            </a:r>
          </a:p>
        </p:txBody>
      </p:sp>
      <p:sp>
        <p:nvSpPr>
          <p:cNvPr id="83" name="Text Placeholder 75"/>
          <p:cNvSpPr>
            <a:spLocks noGrp="1"/>
          </p:cNvSpPr>
          <p:nvPr>
            <p:ph type="body" sz="quarter" idx="20" hasCustomPrompt="1"/>
          </p:nvPr>
        </p:nvSpPr>
        <p:spPr>
          <a:xfrm>
            <a:off x="7641370" y="2055493"/>
            <a:ext cx="1406796" cy="44687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FFCF0B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4</a:t>
            </a:r>
          </a:p>
        </p:txBody>
      </p:sp>
      <p:sp>
        <p:nvSpPr>
          <p:cNvPr id="85" name="Text Placeholder 75"/>
          <p:cNvSpPr>
            <a:spLocks noGrp="1"/>
          </p:cNvSpPr>
          <p:nvPr>
            <p:ph type="body" sz="quarter" idx="22" hasCustomPrompt="1"/>
          </p:nvPr>
        </p:nvSpPr>
        <p:spPr>
          <a:xfrm>
            <a:off x="9824272" y="2707710"/>
            <a:ext cx="1534549" cy="44687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B5E2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5</a:t>
            </a:r>
          </a:p>
        </p:txBody>
      </p:sp>
      <p:sp>
        <p:nvSpPr>
          <p:cNvPr id="57" name="Text Placeholder 77"/>
          <p:cNvSpPr>
            <a:spLocks noGrp="1"/>
          </p:cNvSpPr>
          <p:nvPr>
            <p:ph type="body" sz="quarter" idx="24" hasCustomPrompt="1"/>
          </p:nvPr>
        </p:nvSpPr>
        <p:spPr>
          <a:xfrm>
            <a:off x="3272331" y="2521880"/>
            <a:ext cx="1531116" cy="1212649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58" name="Text Placeholder 77"/>
          <p:cNvSpPr>
            <a:spLocks noGrp="1"/>
          </p:cNvSpPr>
          <p:nvPr>
            <p:ph type="body" sz="quarter" idx="25" hasCustomPrompt="1"/>
          </p:nvPr>
        </p:nvSpPr>
        <p:spPr>
          <a:xfrm>
            <a:off x="5440006" y="3209315"/>
            <a:ext cx="1617359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59" name="Text Placeholder 77"/>
          <p:cNvSpPr>
            <a:spLocks noGrp="1"/>
          </p:cNvSpPr>
          <p:nvPr>
            <p:ph type="body" sz="quarter" idx="26" hasCustomPrompt="1"/>
          </p:nvPr>
        </p:nvSpPr>
        <p:spPr>
          <a:xfrm>
            <a:off x="7648017" y="2563866"/>
            <a:ext cx="1615611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60" name="Text Placeholder 77"/>
          <p:cNvSpPr>
            <a:spLocks noGrp="1"/>
          </p:cNvSpPr>
          <p:nvPr>
            <p:ph type="body" sz="quarter" idx="27" hasCustomPrompt="1"/>
          </p:nvPr>
        </p:nvSpPr>
        <p:spPr>
          <a:xfrm>
            <a:off x="9824269" y="3214876"/>
            <a:ext cx="1627675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742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/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380666"/>
            <a:ext cx="10987088" cy="800205"/>
          </a:xfrm>
        </p:spPr>
        <p:txBody>
          <a:bodyPr anchor="ctr" anchorCtr="0"/>
          <a:lstStyle>
            <a:lvl1pPr marL="0" indent="0">
              <a:buNone/>
              <a:defRPr sz="44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istory/Timeline Title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21391" y="1978605"/>
            <a:ext cx="2558260" cy="460743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77BC1F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21389" y="2533692"/>
            <a:ext cx="2558259" cy="1101363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/>
        </p:nvCxnSpPr>
        <p:spPr>
          <a:xfrm>
            <a:off x="609601" y="3681968"/>
            <a:ext cx="10987088" cy="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 Placeholder 75"/>
          <p:cNvSpPr>
            <a:spLocks noGrp="1"/>
          </p:cNvSpPr>
          <p:nvPr>
            <p:ph type="body" sz="quarter" idx="28" hasCustomPrompt="1"/>
          </p:nvPr>
        </p:nvSpPr>
        <p:spPr>
          <a:xfrm>
            <a:off x="3227163" y="4275615"/>
            <a:ext cx="2558260" cy="483405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6647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92" name="Text Placeholder 77"/>
          <p:cNvSpPr>
            <a:spLocks noGrp="1"/>
          </p:cNvSpPr>
          <p:nvPr>
            <p:ph type="body" sz="quarter" idx="29" hasCustomPrompt="1"/>
          </p:nvPr>
        </p:nvSpPr>
        <p:spPr>
          <a:xfrm>
            <a:off x="3227164" y="4863530"/>
            <a:ext cx="2558259" cy="1086171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101" name="Text Placeholder 75"/>
          <p:cNvSpPr>
            <a:spLocks noGrp="1"/>
          </p:cNvSpPr>
          <p:nvPr>
            <p:ph type="body" sz="quarter" idx="30" hasCustomPrompt="1"/>
          </p:nvPr>
        </p:nvSpPr>
        <p:spPr>
          <a:xfrm>
            <a:off x="5205978" y="1978604"/>
            <a:ext cx="2558260" cy="47036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979EA1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102" name="Text Placeholder 77"/>
          <p:cNvSpPr>
            <a:spLocks noGrp="1"/>
          </p:cNvSpPr>
          <p:nvPr>
            <p:ph type="body" sz="quarter" idx="31" hasCustomPrompt="1"/>
          </p:nvPr>
        </p:nvSpPr>
        <p:spPr>
          <a:xfrm>
            <a:off x="5205976" y="2555222"/>
            <a:ext cx="2558259" cy="1079828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108" name="Text Placeholder 75"/>
          <p:cNvSpPr>
            <a:spLocks noGrp="1"/>
          </p:cNvSpPr>
          <p:nvPr>
            <p:ph type="body" sz="quarter" idx="32" hasCustomPrompt="1"/>
          </p:nvPr>
        </p:nvSpPr>
        <p:spPr>
          <a:xfrm>
            <a:off x="7073675" y="4311268"/>
            <a:ext cx="2558260" cy="45082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FFCF0B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109" name="Text Placeholder 77"/>
          <p:cNvSpPr>
            <a:spLocks noGrp="1"/>
          </p:cNvSpPr>
          <p:nvPr>
            <p:ph type="body" sz="quarter" idx="33" hasCustomPrompt="1"/>
          </p:nvPr>
        </p:nvSpPr>
        <p:spPr>
          <a:xfrm>
            <a:off x="7073673" y="4863530"/>
            <a:ext cx="2558259" cy="1086171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113" name="Text Placeholder 75"/>
          <p:cNvSpPr>
            <a:spLocks noGrp="1"/>
          </p:cNvSpPr>
          <p:nvPr>
            <p:ph type="body" sz="quarter" idx="34" hasCustomPrompt="1"/>
          </p:nvPr>
        </p:nvSpPr>
        <p:spPr>
          <a:xfrm>
            <a:off x="8962203" y="1978607"/>
            <a:ext cx="2558260" cy="48663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B5E2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114" name="Text Placeholder 77"/>
          <p:cNvSpPr>
            <a:spLocks noGrp="1"/>
          </p:cNvSpPr>
          <p:nvPr>
            <p:ph type="body" sz="quarter" idx="35" hasCustomPrompt="1"/>
          </p:nvPr>
        </p:nvSpPr>
        <p:spPr>
          <a:xfrm>
            <a:off x="8962204" y="2555228"/>
            <a:ext cx="2558259" cy="1079827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6" hasCustomPrompt="1"/>
          </p:nvPr>
        </p:nvSpPr>
        <p:spPr>
          <a:xfrm>
            <a:off x="661816" y="2465242"/>
            <a:ext cx="293232" cy="1320854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77BC1F"/>
                </a:solidFill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120" name="Text Placeholder 24"/>
          <p:cNvSpPr>
            <a:spLocks noGrp="1"/>
          </p:cNvSpPr>
          <p:nvPr>
            <p:ph type="body" sz="quarter" idx="37" hasCustomPrompt="1"/>
          </p:nvPr>
        </p:nvSpPr>
        <p:spPr>
          <a:xfrm>
            <a:off x="4459021" y="2465241"/>
            <a:ext cx="293232" cy="1296254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979EA1"/>
                </a:solidFill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121" name="Text Placeholder 24"/>
          <p:cNvSpPr>
            <a:spLocks noGrp="1"/>
          </p:cNvSpPr>
          <p:nvPr>
            <p:ph type="body" sz="quarter" idx="38" hasCustomPrompt="1"/>
          </p:nvPr>
        </p:nvSpPr>
        <p:spPr>
          <a:xfrm>
            <a:off x="2508927" y="4138352"/>
            <a:ext cx="293232" cy="1360778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006647"/>
                </a:solidFill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122" name="Text Placeholder 24"/>
          <p:cNvSpPr>
            <a:spLocks noGrp="1"/>
          </p:cNvSpPr>
          <p:nvPr>
            <p:ph type="body" sz="quarter" idx="39" hasCustomPrompt="1"/>
          </p:nvPr>
        </p:nvSpPr>
        <p:spPr>
          <a:xfrm>
            <a:off x="8219085" y="2439349"/>
            <a:ext cx="293232" cy="1346748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00B5E2"/>
                </a:solidFill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123" name="Text Placeholder 24"/>
          <p:cNvSpPr>
            <a:spLocks noGrp="1"/>
          </p:cNvSpPr>
          <p:nvPr>
            <p:ph type="body" sz="quarter" idx="40" hasCustomPrompt="1"/>
          </p:nvPr>
        </p:nvSpPr>
        <p:spPr>
          <a:xfrm>
            <a:off x="6349236" y="4138352"/>
            <a:ext cx="293232" cy="1360778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FFCF0B"/>
                </a:solidFill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</p:spTree>
    <p:extLst>
      <p:ext uri="{BB962C8B-B14F-4D97-AF65-F5344CB8AC3E}">
        <p14:creationId xmlns:p14="http://schemas.microsoft.com/office/powerpoint/2010/main" val="37207106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-Break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380669"/>
            <a:ext cx="10987088" cy="800205"/>
          </a:xfrm>
        </p:spPr>
        <p:txBody>
          <a:bodyPr anchor="ctr" anchorCtr="0"/>
          <a:lstStyle>
            <a:lvl1pPr marL="0" indent="0">
              <a:buNone/>
              <a:defRPr sz="44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istory/Timeline Title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68981" y="2547110"/>
            <a:ext cx="3615083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77BC1F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68989" y="3224121"/>
            <a:ext cx="3615081" cy="1823375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/>
        </p:nvCxnSpPr>
        <p:spPr>
          <a:xfrm>
            <a:off x="6029997" y="1828800"/>
            <a:ext cx="17241" cy="502920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Oval 105"/>
          <p:cNvSpPr/>
          <p:nvPr/>
        </p:nvSpPr>
        <p:spPr>
          <a:xfrm>
            <a:off x="5769231" y="1825619"/>
            <a:ext cx="506412" cy="506413"/>
          </a:xfrm>
          <a:prstGeom prst="ellipse">
            <a:avLst/>
          </a:prstGeom>
          <a:solidFill>
            <a:srgbClr val="53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+mn-cs"/>
            </a:endParaRPr>
          </a:p>
        </p:txBody>
      </p:sp>
      <p:sp>
        <p:nvSpPr>
          <p:cNvPr id="53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7018985" y="3831336"/>
            <a:ext cx="3615083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006647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54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7018989" y="4508348"/>
            <a:ext cx="3615081" cy="1441357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288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-Break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68981" y="949958"/>
            <a:ext cx="3615083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979EA1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68989" y="1626964"/>
            <a:ext cx="3615081" cy="1823375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/>
        </p:nvCxnSpPr>
        <p:spPr>
          <a:xfrm>
            <a:off x="6023724" y="0"/>
            <a:ext cx="23509" cy="685800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7018985" y="3209544"/>
            <a:ext cx="3615083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FFCF0B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54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7018989" y="3886556"/>
            <a:ext cx="3615081" cy="1819309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841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meline-Break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68981" y="949958"/>
            <a:ext cx="3615083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53555C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68989" y="1626964"/>
            <a:ext cx="3615081" cy="1823375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/>
        </p:nvCxnSpPr>
        <p:spPr>
          <a:xfrm>
            <a:off x="6023725" y="0"/>
            <a:ext cx="18347" cy="5352288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7018985" y="2673096"/>
            <a:ext cx="3615083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00B5E2"/>
                </a:solidFill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54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7018989" y="3350101"/>
            <a:ext cx="3615081" cy="1819309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17" name="Oval 16"/>
          <p:cNvSpPr/>
          <p:nvPr/>
        </p:nvSpPr>
        <p:spPr>
          <a:xfrm>
            <a:off x="5794523" y="5352296"/>
            <a:ext cx="506412" cy="506413"/>
          </a:xfrm>
          <a:prstGeom prst="ellipse">
            <a:avLst/>
          </a:prstGeom>
          <a:solidFill>
            <a:srgbClr val="53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528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2529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: 4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627086" y="1898650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030415" y="1898651"/>
            <a:ext cx="3925887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2030417" y="2493708"/>
            <a:ext cx="3925887" cy="439995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29" name="Picture Placeholder 14"/>
          <p:cNvSpPr>
            <a:spLocks noGrp="1"/>
          </p:cNvSpPr>
          <p:nvPr>
            <p:ph type="pic" sz="quarter" idx="72" hasCustomPrompt="1"/>
          </p:nvPr>
        </p:nvSpPr>
        <p:spPr>
          <a:xfrm>
            <a:off x="6279379" y="1895374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73" hasCustomPrompt="1"/>
          </p:nvPr>
        </p:nvSpPr>
        <p:spPr>
          <a:xfrm>
            <a:off x="7682709" y="1895374"/>
            <a:ext cx="3861593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74" hasCustomPrompt="1"/>
          </p:nvPr>
        </p:nvSpPr>
        <p:spPr>
          <a:xfrm>
            <a:off x="7682708" y="2490432"/>
            <a:ext cx="3861595" cy="439995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33" name="Picture Placeholder 14"/>
          <p:cNvSpPr>
            <a:spLocks noGrp="1"/>
          </p:cNvSpPr>
          <p:nvPr>
            <p:ph type="pic" sz="quarter" idx="76" hasCustomPrompt="1"/>
          </p:nvPr>
        </p:nvSpPr>
        <p:spPr>
          <a:xfrm>
            <a:off x="627086" y="3705032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77" hasCustomPrompt="1"/>
          </p:nvPr>
        </p:nvSpPr>
        <p:spPr>
          <a:xfrm>
            <a:off x="2030415" y="3705032"/>
            <a:ext cx="3925887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78" hasCustomPrompt="1"/>
          </p:nvPr>
        </p:nvSpPr>
        <p:spPr>
          <a:xfrm>
            <a:off x="2030417" y="4300086"/>
            <a:ext cx="3925887" cy="44971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39" name="Picture Placeholder 14"/>
          <p:cNvSpPr>
            <a:spLocks noGrp="1"/>
          </p:cNvSpPr>
          <p:nvPr>
            <p:ph type="pic" sz="quarter" idx="80" hasCustomPrompt="1"/>
          </p:nvPr>
        </p:nvSpPr>
        <p:spPr>
          <a:xfrm>
            <a:off x="6279379" y="3701756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0" name="Text Placeholder 22"/>
          <p:cNvSpPr>
            <a:spLocks noGrp="1"/>
          </p:cNvSpPr>
          <p:nvPr>
            <p:ph type="body" sz="quarter" idx="81" hasCustomPrompt="1"/>
          </p:nvPr>
        </p:nvSpPr>
        <p:spPr>
          <a:xfrm>
            <a:off x="7682709" y="3701756"/>
            <a:ext cx="3861593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41" name="Text Placeholder 22"/>
          <p:cNvSpPr>
            <a:spLocks noGrp="1"/>
          </p:cNvSpPr>
          <p:nvPr>
            <p:ph type="body" sz="quarter" idx="82" hasCustomPrompt="1"/>
          </p:nvPr>
        </p:nvSpPr>
        <p:spPr>
          <a:xfrm>
            <a:off x="7682708" y="4296810"/>
            <a:ext cx="3861595" cy="44971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67395"/>
            <a:ext cx="10987312" cy="55063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Insert Header Here</a:t>
            </a:r>
          </a:p>
        </p:txBody>
      </p:sp>
    </p:spTree>
    <p:extLst>
      <p:ext uri="{BB962C8B-B14F-4D97-AF65-F5344CB8AC3E}">
        <p14:creationId xmlns:p14="http://schemas.microsoft.com/office/powerpoint/2010/main" val="13222528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Title Alternat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9323" y="1143000"/>
            <a:ext cx="7445478" cy="16002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rgbClr val="00B5E2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9323" y="2931459"/>
            <a:ext cx="7445477" cy="802341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ection Sub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45013D4-D06D-43A4-BDC8-658ACCCA7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677406-D7E0-4DA2-AC81-AADCE80034A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Cera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68987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: 6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627086" y="1488556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068513" y="1577456"/>
            <a:ext cx="3049587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2068514" y="2172510"/>
            <a:ext cx="3049588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28" name="Picture Placeholder 14"/>
          <p:cNvSpPr>
            <a:spLocks noGrp="1"/>
          </p:cNvSpPr>
          <p:nvPr>
            <p:ph type="pic" sz="quarter" idx="21" hasCustomPrompt="1"/>
          </p:nvPr>
        </p:nvSpPr>
        <p:spPr>
          <a:xfrm>
            <a:off x="609604" y="3074241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3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051030" y="3163141"/>
            <a:ext cx="3049587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44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2051034" y="3758195"/>
            <a:ext cx="3049588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45" name="Picture Placeholder 14"/>
          <p:cNvSpPr>
            <a:spLocks noGrp="1"/>
          </p:cNvSpPr>
          <p:nvPr>
            <p:ph type="pic" sz="quarter" idx="24" hasCustomPrompt="1"/>
          </p:nvPr>
        </p:nvSpPr>
        <p:spPr>
          <a:xfrm>
            <a:off x="627086" y="4676237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6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2068513" y="4765137"/>
            <a:ext cx="3049587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6" hasCustomPrompt="1"/>
          </p:nvPr>
        </p:nvSpPr>
        <p:spPr>
          <a:xfrm>
            <a:off x="2068514" y="5360191"/>
            <a:ext cx="3049588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48" name="Picture Placeholder 14"/>
          <p:cNvSpPr>
            <a:spLocks noGrp="1"/>
          </p:cNvSpPr>
          <p:nvPr>
            <p:ph type="pic" sz="quarter" idx="27" hasCustomPrompt="1"/>
          </p:nvPr>
        </p:nvSpPr>
        <p:spPr>
          <a:xfrm>
            <a:off x="5513411" y="1547330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9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6954837" y="1636230"/>
            <a:ext cx="3049587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50" name="Text Placehold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6954839" y="2231284"/>
            <a:ext cx="3049588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51" name="Picture Placeholder 14"/>
          <p:cNvSpPr>
            <a:spLocks noGrp="1"/>
          </p:cNvSpPr>
          <p:nvPr>
            <p:ph type="pic" sz="quarter" idx="30" hasCustomPrompt="1"/>
          </p:nvPr>
        </p:nvSpPr>
        <p:spPr>
          <a:xfrm>
            <a:off x="5495927" y="3133015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56" name="Text Placehold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6937357" y="3221915"/>
            <a:ext cx="3049587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57" name="Text Placeholder 22"/>
          <p:cNvSpPr>
            <a:spLocks noGrp="1"/>
          </p:cNvSpPr>
          <p:nvPr>
            <p:ph type="body" sz="quarter" idx="32" hasCustomPrompt="1"/>
          </p:nvPr>
        </p:nvSpPr>
        <p:spPr>
          <a:xfrm>
            <a:off x="6937359" y="3816969"/>
            <a:ext cx="3049588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58" name="Picture Placeholder 14"/>
          <p:cNvSpPr>
            <a:spLocks noGrp="1"/>
          </p:cNvSpPr>
          <p:nvPr>
            <p:ph type="pic" sz="quarter" idx="33" hasCustomPrompt="1"/>
          </p:nvPr>
        </p:nvSpPr>
        <p:spPr>
          <a:xfrm>
            <a:off x="5513411" y="4735011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59" name="Text Placehold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6954837" y="4823911"/>
            <a:ext cx="3049587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60" name="Text Placehold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6954839" y="5418965"/>
            <a:ext cx="3049588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584023"/>
            <a:ext cx="10987312" cy="550636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/>
              <a:t>Insert Header Here</a:t>
            </a:r>
          </a:p>
        </p:txBody>
      </p:sp>
    </p:spTree>
    <p:extLst>
      <p:ext uri="{BB962C8B-B14F-4D97-AF65-F5344CB8AC3E}">
        <p14:creationId xmlns:p14="http://schemas.microsoft.com/office/powerpoint/2010/main" val="39013691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5654400" y="1919930"/>
            <a:ext cx="4466755" cy="52590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Name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6" hasCustomPrompt="1"/>
          </p:nvPr>
        </p:nvSpPr>
        <p:spPr>
          <a:xfrm>
            <a:off x="5654401" y="2520143"/>
            <a:ext cx="4466755" cy="172122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Contac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endParaRPr lang="en-US" dirty="0"/>
          </a:p>
        </p:txBody>
      </p:sp>
      <p:sp>
        <p:nvSpPr>
          <p:cNvPr id="61" name="TextBox 60"/>
          <p:cNvSpPr txBox="1"/>
          <p:nvPr/>
        </p:nvSpPr>
        <p:spPr>
          <a:xfrm>
            <a:off x="609600" y="379192"/>
            <a:ext cx="10987315" cy="86586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77BC1F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+mn-cs"/>
              </a:rPr>
              <a:t>References</a:t>
            </a:r>
          </a:p>
        </p:txBody>
      </p:sp>
      <p:cxnSp>
        <p:nvCxnSpPr>
          <p:cNvPr id="29" name="Straight Connector 28"/>
          <p:cNvCxnSpPr>
            <a:cxnSpLocks/>
          </p:cNvCxnSpPr>
          <p:nvPr/>
        </p:nvCxnSpPr>
        <p:spPr>
          <a:xfrm>
            <a:off x="5647765" y="1785607"/>
            <a:ext cx="4473387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1919930"/>
            <a:ext cx="4466755" cy="52590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Name</a:t>
            </a:r>
          </a:p>
        </p:txBody>
      </p:sp>
      <p:sp>
        <p:nvSpPr>
          <p:cNvPr id="32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609600" y="2520143"/>
            <a:ext cx="4466755" cy="172122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Contac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endParaRPr lang="en-US" dirty="0"/>
          </a:p>
        </p:txBody>
      </p:sp>
      <p:cxnSp>
        <p:nvCxnSpPr>
          <p:cNvPr id="33" name="Straight Connector 32"/>
          <p:cNvCxnSpPr>
            <a:cxnSpLocks/>
          </p:cNvCxnSpPr>
          <p:nvPr/>
        </p:nvCxnSpPr>
        <p:spPr>
          <a:xfrm>
            <a:off x="602965" y="1785607"/>
            <a:ext cx="4473387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24053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VP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605292" y="2189748"/>
            <a:ext cx="3991621" cy="52590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title for “The Other Guys”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609600" y="2189748"/>
            <a:ext cx="3980331" cy="525904"/>
          </a:xfrm>
        </p:spPr>
        <p:txBody>
          <a:bodyPr lIns="0" tIns="0" rIns="0" bIns="0" anchor="b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CommerceVantage title</a:t>
            </a:r>
          </a:p>
        </p:txBody>
      </p:sp>
      <p:sp>
        <p:nvSpPr>
          <p:cNvPr id="32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609599" y="2963249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17" name="Text Placeholder 22"/>
          <p:cNvSpPr>
            <a:spLocks noGrp="1"/>
          </p:cNvSpPr>
          <p:nvPr>
            <p:ph type="body" sz="quarter" idx="30" hasCustomPrompt="1"/>
          </p:nvPr>
        </p:nvSpPr>
        <p:spPr>
          <a:xfrm>
            <a:off x="7605295" y="2963249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cxnSp>
        <p:nvCxnSpPr>
          <p:cNvPr id="4" name="Straight Connector 3"/>
          <p:cNvCxnSpPr>
            <a:cxnSpLocks/>
          </p:cNvCxnSpPr>
          <p:nvPr/>
        </p:nvCxnSpPr>
        <p:spPr>
          <a:xfrm>
            <a:off x="6078072" y="2321859"/>
            <a:ext cx="8965" cy="3451412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7" name="Text Placehold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620890" y="3876004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32" hasCustomPrompt="1"/>
          </p:nvPr>
        </p:nvSpPr>
        <p:spPr>
          <a:xfrm>
            <a:off x="7616579" y="3876004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620890" y="4813249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39" name="Text Placehold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7616579" y="4813249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609601" y="419431"/>
            <a:ext cx="10987312" cy="849139"/>
          </a:xfrm>
        </p:spPr>
        <p:txBody>
          <a:bodyPr/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44105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 Placehold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609600" y="2655054"/>
            <a:ext cx="10677525" cy="1084913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</a:t>
            </a:r>
          </a:p>
          <a:p>
            <a:pPr lvl="0"/>
            <a:r>
              <a:rPr lang="en-US" dirty="0"/>
              <a:t>Service Hours</a:t>
            </a:r>
          </a:p>
          <a:p>
            <a:pPr lvl="0"/>
            <a:r>
              <a:rPr lang="en-US" dirty="0"/>
              <a:t>Additional Information</a:t>
            </a:r>
          </a:p>
        </p:txBody>
      </p:sp>
      <p:sp>
        <p:nvSpPr>
          <p:cNvPr id="27" name="Text Placeholder 22"/>
          <p:cNvSpPr>
            <a:spLocks noGrp="1"/>
          </p:cNvSpPr>
          <p:nvPr>
            <p:ph type="body" sz="quarter" idx="30" hasCustomPrompt="1"/>
          </p:nvPr>
        </p:nvSpPr>
        <p:spPr>
          <a:xfrm>
            <a:off x="609600" y="4515199"/>
            <a:ext cx="10677525" cy="1084913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rgbClr val="53555C"/>
                </a:solidFill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</a:t>
            </a:r>
          </a:p>
          <a:p>
            <a:pPr lvl="0"/>
            <a:r>
              <a:rPr lang="en-US" dirty="0"/>
              <a:t>Service Hours</a:t>
            </a:r>
          </a:p>
          <a:p>
            <a:pPr lvl="0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9803503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848" y="399525"/>
            <a:ext cx="7239499" cy="757310"/>
          </a:xfrm>
        </p:spPr>
        <p:txBody>
          <a:bodyPr anchor="b"/>
          <a:lstStyle>
            <a:lvl1pPr>
              <a:defRPr sz="4000" b="0"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</a:lstStyle>
          <a:p>
            <a:r>
              <a:rPr lang="en-US" dirty="0"/>
              <a:t>Insert Client Nam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939727" y="2522086"/>
            <a:ext cx="4400116" cy="243005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0">
                <a:solidFill>
                  <a:schemeClr val="tx1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Insert testimonial quote here – no need for quotation marks.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626846" y="1439863"/>
            <a:ext cx="5712995" cy="959995"/>
          </a:xfrm>
        </p:spPr>
        <p:txBody>
          <a:bodyPr/>
          <a:lstStyle>
            <a:lvl1pPr marL="0" indent="0">
              <a:buNone/>
              <a:defRPr sz="2000">
                <a:solidFill>
                  <a:schemeClr val="accent3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200" indent="0">
              <a:buNone/>
              <a:defRPr sz="2600"/>
            </a:lvl2pPr>
            <a:lvl3pPr marL="914400" indent="0">
              <a:buNone/>
              <a:defRPr sz="2600"/>
            </a:lvl3pPr>
            <a:lvl4pPr marL="1371600" indent="0">
              <a:buNone/>
              <a:defRPr sz="2600"/>
            </a:lvl4pPr>
            <a:lvl5pPr marL="1828800" indent="0">
              <a:buNone/>
              <a:defRPr sz="2600"/>
            </a:lvl5pPr>
          </a:lstStyle>
          <a:p>
            <a:pPr lvl="0"/>
            <a:r>
              <a:rPr lang="en-US" dirty="0"/>
              <a:t>Insert short description of testimonial connection to client</a:t>
            </a:r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4" hasCustomPrompt="1"/>
          </p:nvPr>
        </p:nvSpPr>
        <p:spPr>
          <a:xfrm>
            <a:off x="1939290" y="5401572"/>
            <a:ext cx="4400572" cy="55458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53555C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Insert Name of </a:t>
            </a:r>
            <a:br>
              <a:rPr lang="en-US" dirty="0"/>
            </a:br>
            <a:r>
              <a:rPr lang="en-US" dirty="0"/>
              <a:t>Insert Title (not company again)</a:t>
            </a:r>
          </a:p>
        </p:txBody>
      </p:sp>
      <p:sp>
        <p:nvSpPr>
          <p:cNvPr id="33" name="Picture Placeholder 32"/>
          <p:cNvSpPr>
            <a:spLocks noGrp="1"/>
          </p:cNvSpPr>
          <p:nvPr>
            <p:ph type="pic" idx="1" hasCustomPrompt="1"/>
          </p:nvPr>
        </p:nvSpPr>
        <p:spPr>
          <a:xfrm>
            <a:off x="6598093" y="1616517"/>
            <a:ext cx="4767257" cy="36088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3200">
                <a:solidFill>
                  <a:srgbClr val="CACDCC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Insert picture, tight crop, or use stock image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753" y="2499043"/>
            <a:ext cx="1161289" cy="116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8713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0157" y="358128"/>
            <a:ext cx="7955079" cy="734826"/>
          </a:xfrm>
        </p:spPr>
        <p:txBody>
          <a:bodyPr anchor="b"/>
          <a:lstStyle>
            <a:lvl1pPr>
              <a:defRPr sz="4000" b="0">
                <a:solidFill>
                  <a:srgbClr val="77BC1F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71450" y="1230284"/>
            <a:ext cx="6172201" cy="4638707"/>
          </a:xfrm>
        </p:spPr>
        <p:txBody>
          <a:bodyPr anchor="ctr" anchorCtr="0"/>
          <a:lstStyle>
            <a:lvl1pPr marL="0" indent="0" algn="ctr">
              <a:buNone/>
              <a:defRPr sz="2000">
                <a:solidFill>
                  <a:srgbClr val="979EA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Use space to insert chart or table</a:t>
            </a:r>
            <a:br>
              <a:rPr lang="en-US" dirty="0"/>
            </a:br>
            <a:r>
              <a:rPr lang="en-US" dirty="0"/>
              <a:t>or other graphic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7" y="1230285"/>
            <a:ext cx="4135625" cy="4638704"/>
          </a:xfrm>
        </p:spPr>
        <p:txBody>
          <a:bodyPr/>
          <a:lstStyle>
            <a:lvl1pPr marL="228600" indent="-228600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01240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omme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455483"/>
            <a:ext cx="10987088" cy="800205"/>
          </a:xfrm>
        </p:spPr>
        <p:txBody>
          <a:bodyPr anchor="ctr" anchorCtr="0"/>
          <a:lstStyle>
            <a:lvl1pPr marL="0" indent="0">
              <a:buNone/>
              <a:defRPr sz="44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About Commerce Bank</a:t>
            </a:r>
          </a:p>
        </p:txBody>
      </p:sp>
    </p:spTree>
    <p:extLst>
      <p:ext uri="{BB962C8B-B14F-4D97-AF65-F5344CB8AC3E}">
        <p14:creationId xmlns:p14="http://schemas.microsoft.com/office/powerpoint/2010/main" val="24505569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9664"/>
            <a:ext cx="12189628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15614" y="2029217"/>
            <a:ext cx="5404670" cy="630693"/>
          </a:xfrm>
        </p:spPr>
        <p:txBody>
          <a:bodyPr lIns="0" tIns="0" rIns="0" bIns="0"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ho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15614" y="2843409"/>
            <a:ext cx="5404670" cy="132462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835" y="1107080"/>
            <a:ext cx="3861696" cy="592331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5715614" y="4912635"/>
            <a:ext cx="5404670" cy="278490"/>
          </a:xfrm>
        </p:spPr>
        <p:txBody>
          <a:bodyPr anchor="t" anchorCtr="0"/>
          <a:lstStyle>
            <a:lvl1pPr marL="0" indent="0" algn="l">
              <a:buNone/>
              <a:defRPr sz="1800">
                <a:solidFill>
                  <a:srgbClr val="53555C"/>
                </a:solidFill>
                <a:latin typeface="Poppins" panose="02000000000000000000" pitchFamily="2" charset="0"/>
              </a:defRPr>
            </a:lvl1pPr>
            <a:lvl2pPr algn="r">
              <a:defRPr sz="2200"/>
            </a:lvl2pPr>
            <a:lvl3pPr algn="r">
              <a:defRPr sz="2200"/>
            </a:lvl3pPr>
            <a:lvl4pPr algn="r">
              <a:defRPr sz="2200"/>
            </a:lvl4pPr>
            <a:lvl5pPr algn="r">
              <a:defRPr sz="2200"/>
            </a:lvl5pPr>
          </a:lstStyle>
          <a:p>
            <a:pPr lvl="0"/>
            <a:r>
              <a:rPr lang="en-US" dirty="0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9907546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630" cy="685799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6105832" y="1189972"/>
            <a:ext cx="5806420" cy="517960"/>
          </a:xfrm>
        </p:spPr>
        <p:txBody>
          <a:bodyPr lIns="0" tIns="0" rIns="0" bIns="0" anchor="b">
            <a:noAutofit/>
          </a:bodyPr>
          <a:lstStyle>
            <a:lvl1pPr algn="r">
              <a:defRPr sz="40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705600" y="1790662"/>
            <a:ext cx="5206652" cy="952538"/>
          </a:xfrm>
        </p:spPr>
        <p:txBody>
          <a:bodyPr lIns="0" tIns="0" rIns="0" bIns="0">
            <a:noAutofit/>
          </a:bodyPr>
          <a:lstStyle>
            <a:lvl1pPr marL="0" indent="0" algn="r">
              <a:buNone/>
              <a:defRPr sz="2400">
                <a:solidFill>
                  <a:srgbClr val="53555C"/>
                </a:solidFill>
                <a:latin typeface="Poppins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392" y="277766"/>
            <a:ext cx="3782860" cy="580239"/>
          </a:xfrm>
          <a:prstGeom prst="rect">
            <a:avLst/>
          </a:prstGeom>
        </p:spPr>
      </p:pic>
      <p:cxnSp>
        <p:nvCxnSpPr>
          <p:cNvPr id="13" name="Straight Connector 12"/>
          <p:cNvCxnSpPr>
            <a:cxnSpLocks/>
          </p:cNvCxnSpPr>
          <p:nvPr userDrawn="1"/>
        </p:nvCxnSpPr>
        <p:spPr>
          <a:xfrm flipH="1">
            <a:off x="6105832" y="1002082"/>
            <a:ext cx="5806420" cy="808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9867552" y="5454540"/>
            <a:ext cx="2044700" cy="400050"/>
          </a:xfrm>
        </p:spPr>
        <p:txBody>
          <a:bodyPr anchor="ctr" anchorCtr="0"/>
          <a:lstStyle>
            <a:lvl1pPr marL="0" indent="0" algn="r">
              <a:buNone/>
              <a:defRPr sz="1800">
                <a:solidFill>
                  <a:srgbClr val="53555C"/>
                </a:solidFill>
                <a:latin typeface="Poppins" panose="02000000000000000000" pitchFamily="2" charset="0"/>
              </a:defRPr>
            </a:lvl1pPr>
            <a:lvl2pPr algn="r">
              <a:defRPr sz="2200"/>
            </a:lvl2pPr>
            <a:lvl3pPr algn="r">
              <a:defRPr sz="2200"/>
            </a:lvl3pPr>
            <a:lvl4pPr algn="r">
              <a:defRPr sz="2200"/>
            </a:lvl4pPr>
            <a:lvl5pPr algn="r">
              <a:defRPr sz="2200"/>
            </a:lvl5pPr>
          </a:lstStyle>
          <a:p>
            <a:pPr lvl="0"/>
            <a:r>
              <a:rPr lang="en-US" dirty="0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0090935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9664"/>
            <a:ext cx="12189628" cy="68579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5769" y="899927"/>
            <a:ext cx="4960303" cy="608347"/>
          </a:xfrm>
        </p:spPr>
        <p:txBody>
          <a:bodyPr lIns="0" tIns="0" rIns="0" bIns="0" anchor="b">
            <a:noAutofit/>
          </a:bodyPr>
          <a:lstStyle>
            <a:lvl1pPr algn="l">
              <a:defRPr sz="380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ho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5769" y="1615506"/>
            <a:ext cx="4960303" cy="132462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Poppins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3086" y="968187"/>
            <a:ext cx="3870642" cy="593703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516086" y="5441553"/>
            <a:ext cx="3096692" cy="278490"/>
          </a:xfrm>
        </p:spPr>
        <p:txBody>
          <a:bodyPr anchor="t" anchorCtr="0"/>
          <a:lstStyle>
            <a:lvl1pPr marL="0" indent="0" algn="l">
              <a:buNone/>
              <a:defRPr sz="1800">
                <a:solidFill>
                  <a:srgbClr val="53555C"/>
                </a:solidFill>
                <a:latin typeface="Poppins" panose="02000000000000000000" pitchFamily="2" charset="0"/>
              </a:defRPr>
            </a:lvl1pPr>
            <a:lvl2pPr algn="r">
              <a:defRPr sz="2200"/>
            </a:lvl2pPr>
            <a:lvl3pPr algn="r">
              <a:defRPr sz="2200"/>
            </a:lvl3pPr>
            <a:lvl4pPr algn="r">
              <a:defRPr sz="2200"/>
            </a:lvl4pPr>
            <a:lvl5pPr algn="r">
              <a:defRPr sz="2200"/>
            </a:lvl5pPr>
          </a:lstStyle>
          <a:p>
            <a:pPr lvl="0"/>
            <a:r>
              <a:rPr lang="en-US" dirty="0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3705403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Poppins Light" panose="02000000000000000000" pitchFamily="2" charset="0"/>
              </a:rPr>
              <a:t>Dat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Poppins Light" panose="02000000000000000000" pitchFamily="2" charset="0"/>
              <a:ea typeface="+mn-ea"/>
              <a:cs typeface="Poppins Light" panose="02000000000000000000" pitchFamily="2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23AA61C-596B-4AD7-B385-F3298D384A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6072" y="1030778"/>
            <a:ext cx="6172200" cy="706583"/>
          </a:xfrm>
        </p:spPr>
        <p:txBody>
          <a:bodyPr anchor="b">
            <a:normAutofit/>
          </a:bodyPr>
          <a:lstStyle>
            <a:lvl1pPr algn="l">
              <a:defRPr sz="2800" b="1">
                <a:solidFill>
                  <a:srgbClr val="78BE43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8F584C2-132D-4D98-871F-1A38383C8B8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072" y="1925619"/>
            <a:ext cx="6172200" cy="426883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11523314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9628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46532" y="1189972"/>
            <a:ext cx="7565720" cy="517960"/>
          </a:xfrm>
        </p:spPr>
        <p:txBody>
          <a:bodyPr lIns="0" tIns="0" rIns="0" bIns="0" anchor="b">
            <a:noAutofit/>
          </a:bodyPr>
          <a:lstStyle>
            <a:lvl1pPr algn="r">
              <a:defRPr sz="40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83344" y="1790662"/>
            <a:ext cx="6128908" cy="749338"/>
          </a:xfrm>
        </p:spPr>
        <p:txBody>
          <a:bodyPr lIns="0" tIns="0" rIns="0" bIns="0">
            <a:noAutofit/>
          </a:bodyPr>
          <a:lstStyle>
            <a:lvl1pPr marL="0" indent="0" algn="r">
              <a:buNone/>
              <a:defRPr sz="2400">
                <a:solidFill>
                  <a:srgbClr val="53555C"/>
                </a:solidFill>
                <a:latin typeface="Poppins" panose="02000000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392" y="277766"/>
            <a:ext cx="3782860" cy="58023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 flipH="1">
            <a:off x="4346532" y="1002082"/>
            <a:ext cx="756572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9867552" y="5149740"/>
            <a:ext cx="2044700" cy="400050"/>
          </a:xfrm>
        </p:spPr>
        <p:txBody>
          <a:bodyPr anchor="ctr" anchorCtr="0"/>
          <a:lstStyle>
            <a:lvl1pPr marL="0" indent="0" algn="r">
              <a:buNone/>
              <a:defRPr sz="1800">
                <a:solidFill>
                  <a:schemeClr val="bg1"/>
                </a:solidFill>
                <a:latin typeface="Poppins" panose="02000000000000000000" pitchFamily="2" charset="0"/>
              </a:defRPr>
            </a:lvl1pPr>
            <a:lvl2pPr algn="r">
              <a:defRPr sz="2200"/>
            </a:lvl2pPr>
            <a:lvl3pPr algn="r">
              <a:defRPr sz="2200"/>
            </a:lvl3pPr>
            <a:lvl4pPr algn="r">
              <a:defRPr sz="2200"/>
            </a:lvl4pPr>
            <a:lvl5pPr algn="r">
              <a:defRPr sz="2200"/>
            </a:lvl5pPr>
          </a:lstStyle>
          <a:p>
            <a:pPr lvl="0"/>
            <a:r>
              <a:rPr lang="en-US" dirty="0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40439624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87313" cy="390525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>
                <a:solidFill>
                  <a:srgbClr val="53555C"/>
                </a:solidFill>
                <a:latin typeface="Poppins Light" panose="02000000000000000000" pitchFamily="2" charset="0"/>
              </a:defRPr>
            </a:lvl1pPr>
            <a:lvl2pPr marL="365760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2pPr>
            <a:lvl3pPr marL="713232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3pPr>
            <a:lvl4pPr marL="1051560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4pPr>
            <a:lvl5pPr marL="1399032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0"/>
            <a:r>
              <a:rPr lang="en-US" dirty="0"/>
              <a:t>Item 2</a:t>
            </a:r>
          </a:p>
          <a:p>
            <a:pPr lvl="0"/>
            <a:r>
              <a:rPr lang="en-US" dirty="0"/>
              <a:t>Item 3</a:t>
            </a:r>
          </a:p>
          <a:p>
            <a:pPr lvl="0"/>
            <a:r>
              <a:rPr lang="en-US" dirty="0"/>
              <a:t>Item 4</a:t>
            </a:r>
          </a:p>
          <a:p>
            <a:pPr lvl="0"/>
            <a:r>
              <a:rPr lang="en-US" dirty="0"/>
              <a:t>Item 5</a:t>
            </a:r>
          </a:p>
          <a:p>
            <a:pPr lvl="0"/>
            <a:r>
              <a:rPr lang="en-US" dirty="0"/>
              <a:t>Item 6</a:t>
            </a:r>
          </a:p>
          <a:p>
            <a:pPr lvl="0"/>
            <a:r>
              <a:rPr lang="en-US" dirty="0"/>
              <a:t>Item 7</a:t>
            </a:r>
          </a:p>
        </p:txBody>
      </p:sp>
      <p:cxnSp>
        <p:nvCxnSpPr>
          <p:cNvPr id="9" name="Straight Connector 8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628650" y="688975"/>
            <a:ext cx="4867275" cy="55006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77BC1F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878452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33652"/>
            <a:ext cx="10987312" cy="550636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708149"/>
            <a:ext cx="10987313" cy="4062413"/>
          </a:xfrm>
        </p:spPr>
        <p:txBody>
          <a:bodyPr/>
          <a:lstStyle>
            <a:lvl1pPr>
              <a:lnSpc>
                <a:spcPct val="100000"/>
              </a:lnSpc>
              <a:defRPr>
                <a:latin typeface="Poppins" panose="02000000000000000000" pitchFamily="2" charset="0"/>
              </a:defRPr>
            </a:lvl1pPr>
            <a:lvl2pPr>
              <a:lnSpc>
                <a:spcPct val="100000"/>
              </a:lnSpc>
              <a:defRPr>
                <a:latin typeface="Poppins" panose="02000000000000000000" pitchFamily="2" charset="0"/>
              </a:defRPr>
            </a:lvl2pPr>
            <a:lvl3pPr>
              <a:lnSpc>
                <a:spcPct val="100000"/>
              </a:lnSpc>
              <a:defRPr>
                <a:latin typeface="Poppins" panose="02000000000000000000" pitchFamily="2" charset="0"/>
              </a:defRPr>
            </a:lvl3pPr>
            <a:lvl4pPr>
              <a:lnSpc>
                <a:spcPct val="100000"/>
              </a:lnSpc>
              <a:defRPr>
                <a:latin typeface="Poppins" panose="02000000000000000000" pitchFamily="2" charset="0"/>
              </a:defRPr>
            </a:lvl4pPr>
            <a:lvl5pPr>
              <a:lnSpc>
                <a:spcPct val="100000"/>
              </a:lnSpc>
              <a:defRPr>
                <a:latin typeface="Poppins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85339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5" y="1"/>
            <a:ext cx="12189630" cy="60769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1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53555C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1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6776150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5" y="0"/>
            <a:ext cx="12189630" cy="61817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1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77BC1F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1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13036229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Med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5" y="0"/>
            <a:ext cx="12189630" cy="61817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1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53555C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1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38615203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5" y="0"/>
            <a:ext cx="12189630" cy="6219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1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979EA1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1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19262100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5" y="0"/>
            <a:ext cx="12189630" cy="6219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1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53555C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1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12938764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85" y="0"/>
            <a:ext cx="12189630" cy="62007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43751" y="2379945"/>
            <a:ext cx="11091397" cy="767092"/>
          </a:xfrm>
        </p:spPr>
        <p:txBody>
          <a:bodyPr anchor="b"/>
          <a:lstStyle>
            <a:lvl1pPr>
              <a:defRPr sz="4800">
                <a:solidFill>
                  <a:srgbClr val="53555C"/>
                </a:solidFill>
                <a:latin typeface="Poppins Medium" panose="02000000000000000000" pitchFamily="2" charset="0"/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43751" y="3211604"/>
            <a:ext cx="11091397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2813424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-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" y="0"/>
            <a:ext cx="12189628" cy="6857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1225" y="2870199"/>
            <a:ext cx="8498475" cy="704461"/>
          </a:xfrm>
        </p:spPr>
        <p:txBody>
          <a:bodyPr anchor="b"/>
          <a:lstStyle>
            <a:lvl1pPr>
              <a:defRPr sz="4800">
                <a:solidFill>
                  <a:srgbClr val="77BC1F"/>
                </a:solidFill>
              </a:defRPr>
            </a:lvl1pPr>
          </a:lstStyle>
          <a:p>
            <a:r>
              <a:rPr lang="en-US" dirty="0"/>
              <a:t>Insert Section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225" y="3639228"/>
            <a:ext cx="8498475" cy="90946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3000">
                <a:solidFill>
                  <a:srgbClr val="53555C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nter subhead text here</a:t>
            </a:r>
          </a:p>
        </p:txBody>
      </p:sp>
    </p:spTree>
    <p:extLst>
      <p:ext uri="{BB962C8B-B14F-4D97-AF65-F5344CB8AC3E}">
        <p14:creationId xmlns:p14="http://schemas.microsoft.com/office/powerpoint/2010/main" val="1627459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677406-D7E0-4DA2-AC81-AADCE80034A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Cera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944D8C4-E6D6-45DC-AF27-581CDF71EF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7090" y="-1338349"/>
            <a:ext cx="6172200" cy="22860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rgbClr val="78BE43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959D0907-F0B2-4BA3-86A0-FC5ECF94022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253271" y="3006273"/>
            <a:ext cx="2633928" cy="1752600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4493049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gram Overview: 3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08252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gram 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0486" y="3108780"/>
            <a:ext cx="3474720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609600" y="2577646"/>
            <a:ext cx="3482975" cy="423864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6647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Short Header 1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6"/>
          </p:nvPr>
        </p:nvSpPr>
        <p:spPr>
          <a:xfrm>
            <a:off x="8122192" y="3085640"/>
            <a:ext cx="3474720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8111306" y="2577646"/>
            <a:ext cx="3482975" cy="423864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B5E2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Short Header 3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18"/>
          </p:nvPr>
        </p:nvSpPr>
        <p:spPr>
          <a:xfrm>
            <a:off x="4398552" y="3108780"/>
            <a:ext cx="3474720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2pPr>
            <a:lvl3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3pPr>
            <a:lvl4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4pPr>
            <a:lvl5pPr>
              <a:spcBef>
                <a:spcPts val="0"/>
              </a:spcBef>
              <a:spcAft>
                <a:spcPts val="400"/>
              </a:spcAft>
              <a:defRPr sz="1800">
                <a:latin typeface="Poppins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4387666" y="2577646"/>
            <a:ext cx="3482975" cy="423864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77BC1F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Short Header 2</a:t>
            </a:r>
          </a:p>
        </p:txBody>
      </p:sp>
    </p:spTree>
    <p:extLst>
      <p:ext uri="{BB962C8B-B14F-4D97-AF65-F5344CB8AC3E}">
        <p14:creationId xmlns:p14="http://schemas.microsoft.com/office/powerpoint/2010/main" val="15018410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gram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08252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gram Overview</a:t>
            </a:r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64537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gram 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609598" y="592364"/>
            <a:ext cx="10987314" cy="79193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77BC1F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+mn-cs"/>
              </a:rPr>
              <a:t>Program History</a:t>
            </a:r>
          </a:p>
        </p:txBody>
      </p:sp>
    </p:spTree>
    <p:extLst>
      <p:ext uri="{BB962C8B-B14F-4D97-AF65-F5344CB8AC3E}">
        <p14:creationId xmlns:p14="http://schemas.microsoft.com/office/powerpoint/2010/main" val="33191986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ient N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609598" y="566964"/>
            <a:ext cx="10987314" cy="83003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77BC1F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+mn-cs"/>
              </a:rPr>
              <a:t>Client Needs</a:t>
            </a:r>
          </a:p>
        </p:txBody>
      </p:sp>
    </p:spTree>
    <p:extLst>
      <p:ext uri="{BB962C8B-B14F-4D97-AF65-F5344CB8AC3E}">
        <p14:creationId xmlns:p14="http://schemas.microsoft.com/office/powerpoint/2010/main" val="18706466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f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19174551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yment Che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606420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ayments Checkup</a:t>
            </a:r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53881" y="2090221"/>
            <a:ext cx="2657208" cy="327254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US" dirty="0"/>
              <a:t>Type 1 Payments</a:t>
            </a: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>
            <a:off x="609600" y="3026352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53547" y="2417763"/>
            <a:ext cx="2657475" cy="6080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>
                <a:latin typeface="Poppins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Insert a short sentence</a:t>
            </a:r>
            <a:br>
              <a:rPr lang="en-US" dirty="0"/>
            </a:br>
            <a:r>
              <a:rPr lang="en-US" dirty="0"/>
              <a:t>of descriptive text her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53814" y="3313113"/>
            <a:ext cx="2657208" cy="327254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US" dirty="0"/>
              <a:t>Type 1 Payments</a:t>
            </a:r>
          </a:p>
        </p:txBody>
      </p:sp>
      <p:cxnSp>
        <p:nvCxnSpPr>
          <p:cNvPr id="14" name="Straight Connector 13"/>
          <p:cNvCxnSpPr>
            <a:cxnSpLocks/>
          </p:cNvCxnSpPr>
          <p:nvPr userDrawn="1"/>
        </p:nvCxnSpPr>
        <p:spPr>
          <a:xfrm>
            <a:off x="609533" y="424924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53480" y="3640655"/>
            <a:ext cx="2657475" cy="6080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>
                <a:latin typeface="Poppins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Insert a short sentence</a:t>
            </a:r>
            <a:br>
              <a:rPr lang="en-US" dirty="0"/>
            </a:br>
            <a:r>
              <a:rPr lang="en-US" dirty="0"/>
              <a:t>of descriptive text he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53747" y="4536004"/>
            <a:ext cx="2657208" cy="327254"/>
          </a:xfrm>
        </p:spPr>
        <p:txBody>
          <a:bodyPr/>
          <a:lstStyle>
            <a:lvl1pPr marL="0" indent="0">
              <a:buNone/>
              <a:defRPr sz="20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</a:lstStyle>
          <a:p>
            <a:pPr lvl="0"/>
            <a:r>
              <a:rPr lang="en-US" dirty="0"/>
              <a:t>Type 1 Payments</a:t>
            </a:r>
          </a:p>
        </p:txBody>
      </p:sp>
      <p:cxnSp>
        <p:nvCxnSpPr>
          <p:cNvPr id="17" name="Straight Connector 16"/>
          <p:cNvCxnSpPr>
            <a:cxnSpLocks/>
          </p:cNvCxnSpPr>
          <p:nvPr userDrawn="1"/>
        </p:nvCxnSpPr>
        <p:spPr>
          <a:xfrm>
            <a:off x="609466" y="5472135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53413" y="4863546"/>
            <a:ext cx="2657475" cy="60801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>
                <a:latin typeface="Poppins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US" dirty="0"/>
              <a:t>Insert a short sentence</a:t>
            </a:r>
            <a:br>
              <a:rPr lang="en-US" dirty="0"/>
            </a:br>
            <a:r>
              <a:rPr lang="en-US" dirty="0"/>
              <a:t>of descriptive text here</a:t>
            </a:r>
          </a:p>
        </p:txBody>
      </p:sp>
    </p:spTree>
    <p:extLst>
      <p:ext uri="{BB962C8B-B14F-4D97-AF65-F5344CB8AC3E}">
        <p14:creationId xmlns:p14="http://schemas.microsoft.com/office/powerpoint/2010/main" val="32039626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Column-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09600" y="2292348"/>
            <a:ext cx="5194300" cy="3765551"/>
          </a:xfrm>
        </p:spPr>
        <p:txBody>
          <a:bodyPr/>
          <a:lstStyle>
            <a:lvl1pPr>
              <a:defRPr sz="2000">
                <a:latin typeface="Poppins" panose="02000000000000000000" pitchFamily="2" charset="0"/>
              </a:defRPr>
            </a:lvl1pPr>
            <a:lvl2pPr>
              <a:defRPr sz="1800">
                <a:latin typeface="Poppins" panose="02000000000000000000" pitchFamily="2" charset="0"/>
              </a:defRPr>
            </a:lvl2pPr>
            <a:lvl3pPr>
              <a:defRPr sz="1800">
                <a:latin typeface="Poppins" panose="02000000000000000000" pitchFamily="2" charset="0"/>
              </a:defRPr>
            </a:lvl3pPr>
            <a:lvl4pPr>
              <a:defRPr sz="1800">
                <a:latin typeface="Poppins" panose="02000000000000000000" pitchFamily="2" charset="0"/>
              </a:defRPr>
            </a:lvl4pPr>
            <a:lvl5pPr>
              <a:defRPr sz="1800">
                <a:latin typeface="Poppins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402388" y="2292348"/>
            <a:ext cx="5194300" cy="3765551"/>
          </a:xfrm>
        </p:spPr>
        <p:txBody>
          <a:bodyPr/>
          <a:lstStyle>
            <a:lvl1pPr>
              <a:defRPr sz="2000">
                <a:latin typeface="Poppins" panose="02000000000000000000" pitchFamily="2" charset="0"/>
              </a:defRPr>
            </a:lvl1pPr>
            <a:lvl2pPr>
              <a:defRPr sz="1800">
                <a:latin typeface="Poppins" panose="02000000000000000000" pitchFamily="2" charset="0"/>
              </a:defRPr>
            </a:lvl2pPr>
            <a:lvl3pPr>
              <a:defRPr sz="1800">
                <a:latin typeface="Poppins" panose="02000000000000000000" pitchFamily="2" charset="0"/>
              </a:defRPr>
            </a:lvl3pPr>
            <a:lvl4pPr>
              <a:defRPr sz="1800">
                <a:latin typeface="Poppins" panose="02000000000000000000" pitchFamily="2" charset="0"/>
              </a:defRPr>
            </a:lvl4pPr>
            <a:lvl5pPr>
              <a:defRPr sz="1800">
                <a:latin typeface="Poppins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755775"/>
            <a:ext cx="5194300" cy="450977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b="1">
                <a:solidFill>
                  <a:srgbClr val="77BC1F"/>
                </a:solidFill>
              </a:defRPr>
            </a:lvl2pPr>
            <a:lvl3pPr marL="914400" indent="0">
              <a:buNone/>
              <a:defRPr b="1">
                <a:solidFill>
                  <a:srgbClr val="77BC1F"/>
                </a:solidFill>
              </a:defRPr>
            </a:lvl3pPr>
            <a:lvl4pPr marL="1371600" indent="0">
              <a:buNone/>
              <a:defRPr b="1">
                <a:solidFill>
                  <a:srgbClr val="77BC1F"/>
                </a:solidFill>
              </a:defRPr>
            </a:lvl4pPr>
            <a:lvl5pPr marL="1828800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402388" y="1755775"/>
            <a:ext cx="5194300" cy="450977"/>
          </a:xfrm>
        </p:spPr>
        <p:txBody>
          <a:bodyPr anchor="b" anchorCtr="0"/>
          <a:lstStyle>
            <a:lvl1pPr marL="0" indent="0">
              <a:buNone/>
              <a:defRPr sz="22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b="1">
                <a:solidFill>
                  <a:srgbClr val="77BC1F"/>
                </a:solidFill>
              </a:defRPr>
            </a:lvl2pPr>
            <a:lvl3pPr marL="914400" indent="0">
              <a:buNone/>
              <a:defRPr b="1">
                <a:solidFill>
                  <a:srgbClr val="77BC1F"/>
                </a:solidFill>
              </a:defRPr>
            </a:lvl3pPr>
            <a:lvl4pPr marL="1371600" indent="0">
              <a:buNone/>
              <a:defRPr b="1">
                <a:solidFill>
                  <a:srgbClr val="77BC1F"/>
                </a:solidFill>
              </a:defRPr>
            </a:lvl4pPr>
            <a:lvl5pPr marL="1828800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</p:spTree>
    <p:extLst>
      <p:ext uri="{BB962C8B-B14F-4D97-AF65-F5344CB8AC3E}">
        <p14:creationId xmlns:p14="http://schemas.microsoft.com/office/powerpoint/2010/main" val="14437200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Segment-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981200"/>
            <a:ext cx="3714750" cy="569602"/>
          </a:xfrm>
        </p:spPr>
        <p:txBody>
          <a:bodyPr anchor="b" anchorCtr="0"/>
          <a:lstStyle>
            <a:lvl1pPr marL="0" indent="0" algn="r">
              <a:buNone/>
              <a:defRPr sz="22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Strategy 01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2611624"/>
            <a:ext cx="3714750" cy="1123319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4087368"/>
            <a:ext cx="3714750" cy="578262"/>
          </a:xfrm>
        </p:spPr>
        <p:txBody>
          <a:bodyPr anchor="b" anchorCtr="0"/>
          <a:lstStyle>
            <a:lvl1pPr marL="0" indent="0" algn="r">
              <a:buNone/>
              <a:defRPr sz="2200" b="1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Strategy 02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4726453"/>
            <a:ext cx="3714750" cy="1151616"/>
          </a:xfrm>
        </p:spPr>
        <p:txBody>
          <a:bodyPr anchor="t" anchorCtr="0"/>
          <a:lstStyle>
            <a:lvl1pPr marL="0" indent="0" algn="r">
              <a:lnSpc>
                <a:spcPct val="100000"/>
              </a:lnSpc>
              <a:buNone/>
              <a:defRPr sz="1800" b="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7867650" y="1932432"/>
            <a:ext cx="3702558" cy="569602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Strategy 03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7867650" y="2562856"/>
            <a:ext cx="3702558" cy="1123319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7867650" y="4038600"/>
            <a:ext cx="3702558" cy="578262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Strategy 04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7867650" y="4677685"/>
            <a:ext cx="3702558" cy="1151616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text to describe</a:t>
            </a:r>
            <a:br>
              <a:rPr lang="en-US" dirty="0"/>
            </a:br>
            <a:r>
              <a:rPr lang="en-US" dirty="0"/>
              <a:t>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4463978" y="2254384"/>
            <a:ext cx="3241305" cy="3251066"/>
            <a:chOff x="4445794" y="2242036"/>
            <a:chExt cx="2985293" cy="2994283"/>
          </a:xfrm>
        </p:grpSpPr>
        <p:pic>
          <p:nvPicPr>
            <p:cNvPr id="2" name="Graphic 1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445794" y="2242036"/>
              <a:ext cx="1657350" cy="1476375"/>
            </a:xfrm>
            <a:prstGeom prst="rect">
              <a:avLst/>
            </a:prstGeom>
          </p:spPr>
        </p:pic>
        <p:pic>
          <p:nvPicPr>
            <p:cNvPr id="6" name="Graphic 5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54712" y="2249606"/>
              <a:ext cx="1476375" cy="1657350"/>
            </a:xfrm>
            <a:prstGeom prst="rect">
              <a:avLst/>
            </a:prstGeom>
          </p:spPr>
        </p:pic>
        <p:pic>
          <p:nvPicPr>
            <p:cNvPr id="22" name="Graphic 21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773737" y="3759944"/>
              <a:ext cx="1657350" cy="1476375"/>
            </a:xfrm>
            <a:prstGeom prst="rect">
              <a:avLst/>
            </a:prstGeom>
          </p:spPr>
        </p:pic>
        <p:pic>
          <p:nvPicPr>
            <p:cNvPr id="23" name="Graphic 22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445794" y="3565146"/>
              <a:ext cx="1476375" cy="16573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41955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Segment-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210661" y="2111560"/>
            <a:ext cx="5933130" cy="354922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Header 01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210661" y="2524257"/>
            <a:ext cx="5933130" cy="656704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text to describe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grpSp>
        <p:nvGrpSpPr>
          <p:cNvPr id="26" name="Group 25"/>
          <p:cNvGrpSpPr/>
          <p:nvPr userDrawn="1"/>
        </p:nvGrpSpPr>
        <p:grpSpPr>
          <a:xfrm flipH="1">
            <a:off x="1008647" y="2111560"/>
            <a:ext cx="3801176" cy="3811101"/>
            <a:chOff x="4375944" y="2384936"/>
            <a:chExt cx="3446970" cy="3459616"/>
          </a:xfrm>
        </p:grpSpPr>
        <p:pic>
          <p:nvPicPr>
            <p:cNvPr id="23" name="Graphic 22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375944" y="3215652"/>
              <a:ext cx="1714500" cy="2628900"/>
            </a:xfrm>
            <a:prstGeom prst="rect">
              <a:avLst/>
            </a:prstGeom>
          </p:spPr>
        </p:pic>
        <p:pic>
          <p:nvPicPr>
            <p:cNvPr id="24" name="Graphic 23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621753" y="2384936"/>
              <a:ext cx="2943225" cy="1190625"/>
            </a:xfrm>
            <a:prstGeom prst="rect">
              <a:avLst/>
            </a:prstGeom>
          </p:spPr>
        </p:pic>
        <p:pic>
          <p:nvPicPr>
            <p:cNvPr id="25" name="Graphic 24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98864" y="3272802"/>
              <a:ext cx="1924050" cy="2571750"/>
            </a:xfrm>
            <a:prstGeom prst="rect">
              <a:avLst/>
            </a:prstGeom>
          </p:spPr>
        </p:pic>
      </p:grpSp>
      <p:sp>
        <p:nvSpPr>
          <p:cNvPr id="27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5210661" y="3469217"/>
            <a:ext cx="5933130" cy="367486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Header 02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5210661" y="3894478"/>
            <a:ext cx="5933130" cy="656704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text to describe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210661" y="4857749"/>
            <a:ext cx="5933130" cy="341909"/>
          </a:xfrm>
        </p:spPr>
        <p:txBody>
          <a:bodyPr anchor="b" anchorCtr="0"/>
          <a:lstStyle>
            <a:lvl1pPr marL="0" indent="0" algn="l">
              <a:buNone/>
              <a:defRPr sz="22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Header 03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210661" y="5257434"/>
            <a:ext cx="5933130" cy="656704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buNone/>
              <a:defRPr sz="1800" b="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text to describe strategy, goal or other </a:t>
            </a:r>
            <a:br>
              <a:rPr lang="en-US" dirty="0"/>
            </a:br>
            <a:r>
              <a:rPr lang="en-US" dirty="0"/>
              <a:t>four-prong item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 hasCustomPrompt="1"/>
          </p:nvPr>
        </p:nvSpPr>
        <p:spPr>
          <a:xfrm rot="15727631">
            <a:off x="1412836" y="2565588"/>
            <a:ext cx="2893465" cy="2926230"/>
          </a:xfrm>
        </p:spPr>
        <p:txBody>
          <a:bodyPr>
            <a:prstTxWarp prst="textCircle">
              <a:avLst>
                <a:gd name="adj" fmla="val 18328259"/>
              </a:avLst>
            </a:prstTxWarp>
          </a:bodyPr>
          <a:lstStyle>
            <a:lvl1pPr marL="0" indent="0" algn="ctr">
              <a:buNone/>
              <a:defRPr b="1">
                <a:solidFill>
                  <a:schemeClr val="bg1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   Header01</a:t>
            </a:r>
          </a:p>
        </p:txBody>
      </p:sp>
      <p:sp>
        <p:nvSpPr>
          <p:cNvPr id="36" name="Content Placeholder 33"/>
          <p:cNvSpPr>
            <a:spLocks noGrp="1"/>
          </p:cNvSpPr>
          <p:nvPr>
            <p:ph sz="quarter" idx="25" hasCustomPrompt="1"/>
          </p:nvPr>
        </p:nvSpPr>
        <p:spPr>
          <a:xfrm rot="1424131">
            <a:off x="1452118" y="2531625"/>
            <a:ext cx="2893465" cy="2926230"/>
          </a:xfrm>
        </p:spPr>
        <p:txBody>
          <a:bodyPr>
            <a:prstTxWarp prst="textCircle">
              <a:avLst>
                <a:gd name="adj" fmla="val 18328259"/>
              </a:avLst>
            </a:prstTxWarp>
          </a:bodyPr>
          <a:lstStyle>
            <a:lvl1pPr marL="0" indent="0" algn="ctr">
              <a:buNone/>
              <a:defRPr b="1">
                <a:solidFill>
                  <a:schemeClr val="bg1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   Header03</a:t>
            </a:r>
          </a:p>
        </p:txBody>
      </p:sp>
      <p:sp>
        <p:nvSpPr>
          <p:cNvPr id="37" name="Content Placeholder 33"/>
          <p:cNvSpPr>
            <a:spLocks noGrp="1"/>
          </p:cNvSpPr>
          <p:nvPr>
            <p:ph sz="quarter" idx="26" hasCustomPrompt="1"/>
          </p:nvPr>
        </p:nvSpPr>
        <p:spPr>
          <a:xfrm rot="8351213">
            <a:off x="1486179" y="2575698"/>
            <a:ext cx="2893465" cy="2926230"/>
          </a:xfrm>
        </p:spPr>
        <p:txBody>
          <a:bodyPr>
            <a:prstTxWarp prst="textCircle">
              <a:avLst>
                <a:gd name="adj" fmla="val 18328259"/>
              </a:avLst>
            </a:prstTxWarp>
          </a:bodyPr>
          <a:lstStyle>
            <a:lvl1pPr marL="0" indent="0" algn="ctr">
              <a:buNone/>
              <a:defRPr b="1">
                <a:solidFill>
                  <a:schemeClr val="bg1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   Header02</a:t>
            </a:r>
          </a:p>
        </p:txBody>
      </p:sp>
    </p:spTree>
    <p:extLst>
      <p:ext uri="{BB962C8B-B14F-4D97-AF65-F5344CB8AC3E}">
        <p14:creationId xmlns:p14="http://schemas.microsoft.com/office/powerpoint/2010/main" val="41378527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ead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09600" y="2344964"/>
            <a:ext cx="6047232" cy="3714524"/>
          </a:xfrm>
        </p:spPr>
        <p:txBody>
          <a:bodyPr/>
          <a:lstStyle>
            <a:lvl1pPr>
              <a:lnSpc>
                <a:spcPct val="100000"/>
              </a:lnSpc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lnSpc>
                <a:spcPct val="100000"/>
              </a:lnSpc>
              <a:spcAft>
                <a:spcPts val="400"/>
              </a:spcAft>
              <a:defRPr sz="1800">
                <a:latin typeface="Poppins" panose="02000000000000000000" pitchFamily="2" charset="0"/>
              </a:defRPr>
            </a:lvl2pPr>
            <a:lvl3pPr>
              <a:lnSpc>
                <a:spcPct val="100000"/>
              </a:lnSpc>
              <a:spcAft>
                <a:spcPts val="400"/>
              </a:spcAft>
              <a:defRPr sz="1800">
                <a:latin typeface="Poppins" panose="02000000000000000000" pitchFamily="2" charset="0"/>
              </a:defRPr>
            </a:lvl3pPr>
            <a:lvl4pPr>
              <a:lnSpc>
                <a:spcPct val="100000"/>
              </a:lnSpc>
              <a:spcAft>
                <a:spcPts val="400"/>
              </a:spcAft>
              <a:defRPr sz="1800">
                <a:latin typeface="Poppins" panose="02000000000000000000" pitchFamily="2" charset="0"/>
              </a:defRPr>
            </a:lvl4pPr>
            <a:lvl5pPr>
              <a:lnSpc>
                <a:spcPct val="100000"/>
              </a:lnSpc>
              <a:spcAft>
                <a:spcPts val="400"/>
              </a:spcAft>
              <a:defRPr sz="1800">
                <a:latin typeface="Poppins" panose="02000000000000000000" pitchFamily="2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905000"/>
            <a:ext cx="6046788" cy="349377"/>
          </a:xfrm>
        </p:spPr>
        <p:txBody>
          <a:bodyPr anchor="b" anchorCtr="0"/>
          <a:lstStyle>
            <a:lvl1pPr marL="0" indent="0">
              <a:buNone/>
              <a:defRPr sz="24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b="1">
                <a:solidFill>
                  <a:srgbClr val="77BC1F"/>
                </a:solidFill>
              </a:defRPr>
            </a:lvl2pPr>
            <a:lvl3pPr marL="914400" indent="0">
              <a:buNone/>
              <a:defRPr b="1">
                <a:solidFill>
                  <a:srgbClr val="77BC1F"/>
                </a:solidFill>
              </a:defRPr>
            </a:lvl3pPr>
            <a:lvl4pPr marL="1371600" indent="0">
              <a:buNone/>
              <a:defRPr b="1">
                <a:solidFill>
                  <a:srgbClr val="77BC1F"/>
                </a:solidFill>
              </a:defRPr>
            </a:lvl4pPr>
            <a:lvl5pPr marL="1828800" indent="0">
              <a:buNone/>
              <a:defRPr b="1"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Type Short Subhead He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 hasCustomPrompt="1"/>
          </p:nvPr>
        </p:nvSpPr>
        <p:spPr>
          <a:xfrm>
            <a:off x="6937375" y="1905000"/>
            <a:ext cx="4659313" cy="4154488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chart or picture or other content here</a:t>
            </a:r>
          </a:p>
        </p:txBody>
      </p:sp>
    </p:spTree>
    <p:extLst>
      <p:ext uri="{BB962C8B-B14F-4D97-AF65-F5344CB8AC3E}">
        <p14:creationId xmlns:p14="http://schemas.microsoft.com/office/powerpoint/2010/main" val="2384061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677406-D7E0-4DA2-AC81-AADCE80034A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Cera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9FED23A-E77A-4F04-8D8D-04F5BC4AFFE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31978" y="-91440"/>
            <a:ext cx="6172200" cy="2286001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rgbClr val="78BE43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284BB51-1FFA-4824-A788-5D727CFA20B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31978" y="2382819"/>
            <a:ext cx="6172200" cy="1752600"/>
          </a:xfrm>
        </p:spPr>
        <p:txBody>
          <a:bodyPr/>
          <a:lstStyle>
            <a:lvl1pPr marL="0" indent="0" algn="l">
              <a:buNone/>
              <a:defRPr>
                <a:solidFill>
                  <a:srgbClr val="006747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2620067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oals/Next Step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89100" y="3108780"/>
            <a:ext cx="2540000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1689233" y="2019300"/>
            <a:ext cx="2537035" cy="98221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None/>
              <a:defRPr sz="2200" b="1">
                <a:solidFill>
                  <a:srgbClr val="006647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Insert Program Header 1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half" idx="16"/>
          </p:nvPr>
        </p:nvSpPr>
        <p:spPr>
          <a:xfrm>
            <a:off x="9133331" y="3156737"/>
            <a:ext cx="2463581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5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9133577" y="2067257"/>
            <a:ext cx="2460705" cy="98221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None/>
              <a:defRPr sz="2200" b="1">
                <a:solidFill>
                  <a:srgbClr val="00B5E2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Insert Program Header 1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sz="half" idx="18"/>
          </p:nvPr>
        </p:nvSpPr>
        <p:spPr>
          <a:xfrm>
            <a:off x="5463032" y="3156737"/>
            <a:ext cx="2474467" cy="257537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9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5463166" y="2067257"/>
            <a:ext cx="2471579" cy="982210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buNone/>
              <a:defRPr sz="2200" b="1">
                <a:solidFill>
                  <a:srgbClr val="77BC1F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Insert Program Header 1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652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Header Here</a:t>
            </a:r>
          </a:p>
        </p:txBody>
      </p:sp>
    </p:spTree>
    <p:extLst>
      <p:ext uri="{BB962C8B-B14F-4D97-AF65-F5344CB8AC3E}">
        <p14:creationId xmlns:p14="http://schemas.microsoft.com/office/powerpoint/2010/main" val="5209152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oals/Next Steps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17872" y="3319951"/>
            <a:ext cx="2540000" cy="2862206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14"/>
          <p:cNvSpPr>
            <a:spLocks noGrp="1"/>
          </p:cNvSpPr>
          <p:nvPr>
            <p:ph sz="quarter" idx="15" hasCustomPrompt="1"/>
          </p:nvPr>
        </p:nvSpPr>
        <p:spPr>
          <a:xfrm>
            <a:off x="617872" y="2558362"/>
            <a:ext cx="2537035" cy="696902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006647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Name Goal 1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sz="half" idx="16" hasCustomPrompt="1"/>
          </p:nvPr>
        </p:nvSpPr>
        <p:spPr>
          <a:xfrm>
            <a:off x="6328795" y="3319951"/>
            <a:ext cx="2463581" cy="288559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35" name="Content Placeholder 14"/>
          <p:cNvSpPr>
            <a:spLocks noGrp="1"/>
          </p:cNvSpPr>
          <p:nvPr>
            <p:ph sz="quarter" idx="17" hasCustomPrompt="1"/>
          </p:nvPr>
        </p:nvSpPr>
        <p:spPr>
          <a:xfrm>
            <a:off x="6331671" y="2558362"/>
            <a:ext cx="2460705" cy="696902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979EA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Name Goal 3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3516711" y="3319952"/>
            <a:ext cx="2474467" cy="2885598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39" name="Content Placeholder 14"/>
          <p:cNvSpPr>
            <a:spLocks noGrp="1"/>
          </p:cNvSpPr>
          <p:nvPr>
            <p:ph sz="quarter" idx="19" hasCustomPrompt="1"/>
          </p:nvPr>
        </p:nvSpPr>
        <p:spPr>
          <a:xfrm>
            <a:off x="3519599" y="2558362"/>
            <a:ext cx="2471579" cy="696902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77BC1F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Name Goal 2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20" hasCustomPrompt="1"/>
          </p:nvPr>
        </p:nvSpPr>
        <p:spPr>
          <a:xfrm>
            <a:off x="9130700" y="3319951"/>
            <a:ext cx="2463581" cy="2885599"/>
          </a:xfrm>
        </p:spPr>
        <p:txBody>
          <a:bodyPr/>
          <a:lstStyle>
            <a:lvl1pPr>
              <a:spcBef>
                <a:spcPts val="0"/>
              </a:spcBef>
              <a:spcAft>
                <a:spcPts val="400"/>
              </a:spcAft>
              <a:defRPr sz="2000">
                <a:latin typeface="Poppins" panose="02000000000000000000" pitchFamily="2" charset="0"/>
              </a:defRPr>
            </a:lvl1pPr>
            <a:lvl2pPr>
              <a:spcBef>
                <a:spcPts val="0"/>
              </a:spcBef>
              <a:spcAft>
                <a:spcPts val="400"/>
              </a:spcAft>
              <a:defRPr sz="2400"/>
            </a:lvl2pPr>
            <a:lvl3pPr>
              <a:spcBef>
                <a:spcPts val="0"/>
              </a:spcBef>
              <a:spcAft>
                <a:spcPts val="400"/>
              </a:spcAft>
              <a:defRPr sz="2400"/>
            </a:lvl3pPr>
            <a:lvl4pPr>
              <a:spcBef>
                <a:spcPts val="0"/>
              </a:spcBef>
              <a:spcAft>
                <a:spcPts val="400"/>
              </a:spcAft>
              <a:defRPr sz="2400"/>
            </a:lvl4pPr>
            <a:lvl5pPr>
              <a:spcBef>
                <a:spcPts val="0"/>
              </a:spcBef>
              <a:spcAft>
                <a:spcPts val="400"/>
              </a:spcAft>
              <a:defRPr sz="2400"/>
            </a:lvl5pPr>
          </a:lstStyle>
          <a:p>
            <a:pPr lvl="0"/>
            <a:r>
              <a:rPr lang="en-US" dirty="0"/>
              <a:t>Next step X</a:t>
            </a:r>
          </a:p>
          <a:p>
            <a:pPr lvl="0"/>
            <a:r>
              <a:rPr lang="en-US" dirty="0"/>
              <a:t>Next step Y</a:t>
            </a:r>
          </a:p>
          <a:p>
            <a:pPr lvl="0"/>
            <a:r>
              <a:rPr lang="en-US" dirty="0"/>
              <a:t>Next step Z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1" hasCustomPrompt="1"/>
          </p:nvPr>
        </p:nvSpPr>
        <p:spPr>
          <a:xfrm>
            <a:off x="9133576" y="2558362"/>
            <a:ext cx="2460705" cy="696902"/>
          </a:xfrm>
        </p:spPr>
        <p:txBody>
          <a:bodyPr anchor="ctr" anchorCtr="0"/>
          <a:lstStyle>
            <a:lvl1pPr marL="0" indent="0">
              <a:lnSpc>
                <a:spcPct val="80000"/>
              </a:lnSpc>
              <a:buNone/>
              <a:defRPr sz="2200" b="1">
                <a:solidFill>
                  <a:srgbClr val="00B5E2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dirty="0"/>
              <a:t>Name Goal 3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652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Header Here</a:t>
            </a:r>
          </a:p>
        </p:txBody>
      </p:sp>
    </p:spTree>
    <p:extLst>
      <p:ext uri="{BB962C8B-B14F-4D97-AF65-F5344CB8AC3E}">
        <p14:creationId xmlns:p14="http://schemas.microsoft.com/office/powerpoint/2010/main" val="14367789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oals: 4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652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Goals Header</a:t>
            </a:r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Content Placeholder 21"/>
          <p:cNvSpPr>
            <a:spLocks noGrp="1"/>
          </p:cNvSpPr>
          <p:nvPr>
            <p:ph sz="quarter" idx="17" hasCustomPrompt="1"/>
          </p:nvPr>
        </p:nvSpPr>
        <p:spPr>
          <a:xfrm>
            <a:off x="703262" y="3518204"/>
            <a:ext cx="2435405" cy="2455703"/>
          </a:xfrm>
        </p:spPr>
        <p:txBody>
          <a:bodyPr/>
          <a:lstStyle>
            <a:lvl1pPr marL="169863" indent="-169863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>
                <a:latin typeface="Poppins" panose="02000000000000000000" pitchFamily="2" charset="0"/>
              </a:defRPr>
            </a:lvl1pPr>
            <a:lvl2pPr marL="457200" indent="0" algn="l">
              <a:buNone/>
              <a:defRPr sz="1800"/>
            </a:lvl2pPr>
            <a:lvl3pPr marL="914400" indent="0" algn="l">
              <a:buNone/>
              <a:defRPr sz="1800"/>
            </a:lvl3pPr>
            <a:lvl4pPr marL="1371600" indent="0" algn="l">
              <a:buNone/>
              <a:defRPr sz="1800"/>
            </a:lvl4pPr>
            <a:lvl5pPr marL="1828800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23" name="Content Placeholder 21"/>
          <p:cNvSpPr>
            <a:spLocks noGrp="1"/>
          </p:cNvSpPr>
          <p:nvPr>
            <p:ph sz="quarter" idx="18" hasCustomPrompt="1"/>
          </p:nvPr>
        </p:nvSpPr>
        <p:spPr>
          <a:xfrm>
            <a:off x="3483239" y="3518204"/>
            <a:ext cx="2357964" cy="2455703"/>
          </a:xfrm>
        </p:spPr>
        <p:txBody>
          <a:bodyPr/>
          <a:lstStyle>
            <a:lvl1pPr marL="169863" indent="-169863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>
                <a:latin typeface="Poppins" panose="02000000000000000000" pitchFamily="2" charset="0"/>
              </a:defRPr>
            </a:lvl1pPr>
            <a:lvl2pPr marL="457200" indent="0" algn="l">
              <a:buNone/>
              <a:defRPr sz="1800"/>
            </a:lvl2pPr>
            <a:lvl3pPr marL="914400" indent="0" algn="l">
              <a:buNone/>
              <a:defRPr sz="1800"/>
            </a:lvl3pPr>
            <a:lvl4pPr marL="1371600" indent="0" algn="l">
              <a:buNone/>
              <a:defRPr sz="1800"/>
            </a:lvl4pPr>
            <a:lvl5pPr marL="1828800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25" name="Content Placeholder 21"/>
          <p:cNvSpPr>
            <a:spLocks noGrp="1"/>
          </p:cNvSpPr>
          <p:nvPr>
            <p:ph sz="quarter" idx="19" hasCustomPrompt="1"/>
          </p:nvPr>
        </p:nvSpPr>
        <p:spPr>
          <a:xfrm>
            <a:off x="6185775" y="3516118"/>
            <a:ext cx="2362073" cy="2455703"/>
          </a:xfrm>
        </p:spPr>
        <p:txBody>
          <a:bodyPr/>
          <a:lstStyle>
            <a:lvl1pPr marL="169863" indent="-169863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>
                <a:latin typeface="Poppins" panose="02000000000000000000" pitchFamily="2" charset="0"/>
              </a:defRPr>
            </a:lvl1pPr>
            <a:lvl2pPr marL="457200" indent="0" algn="l">
              <a:buNone/>
              <a:defRPr sz="1800"/>
            </a:lvl2pPr>
            <a:lvl3pPr marL="914400" indent="0" algn="l">
              <a:buNone/>
              <a:defRPr sz="1800"/>
            </a:lvl3pPr>
            <a:lvl4pPr marL="1371600" indent="0" algn="l">
              <a:buNone/>
              <a:defRPr sz="1800"/>
            </a:lvl4pPr>
            <a:lvl5pPr marL="1828800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26" name="Content Placeholder 21"/>
          <p:cNvSpPr>
            <a:spLocks noGrp="1"/>
          </p:cNvSpPr>
          <p:nvPr>
            <p:ph sz="quarter" idx="20" hasCustomPrompt="1"/>
          </p:nvPr>
        </p:nvSpPr>
        <p:spPr>
          <a:xfrm>
            <a:off x="8892421" y="3516118"/>
            <a:ext cx="2431089" cy="2455703"/>
          </a:xfrm>
        </p:spPr>
        <p:txBody>
          <a:bodyPr/>
          <a:lstStyle>
            <a:lvl1pPr marL="169863" indent="-169863" algn="l">
              <a:lnSpc>
                <a:spcPct val="100000"/>
              </a:lnSpc>
              <a:spcAft>
                <a:spcPts val="400"/>
              </a:spcAft>
              <a:buFont typeface="Arial" panose="020B0604020202020204" pitchFamily="34" charset="0"/>
              <a:buChar char="•"/>
              <a:defRPr sz="1700">
                <a:latin typeface="Poppins" panose="02000000000000000000" pitchFamily="2" charset="0"/>
              </a:defRPr>
            </a:lvl1pPr>
            <a:lvl2pPr marL="457200" indent="0" algn="l">
              <a:buNone/>
              <a:defRPr sz="1800"/>
            </a:lvl2pPr>
            <a:lvl3pPr marL="914400" indent="0" algn="l">
              <a:buNone/>
              <a:defRPr sz="1800"/>
            </a:lvl3pPr>
            <a:lvl4pPr marL="1371600" indent="0" algn="l">
              <a:buNone/>
              <a:defRPr sz="1800"/>
            </a:lvl4pPr>
            <a:lvl5pPr marL="1828800" indent="0" algn="l">
              <a:buNone/>
              <a:defRPr sz="1800"/>
            </a:lvl5pPr>
          </a:lstStyle>
          <a:p>
            <a:pPr lvl="0"/>
            <a:r>
              <a:rPr lang="en-US" dirty="0"/>
              <a:t>Additional information describing goal could be added he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806450" y="1934391"/>
            <a:ext cx="2070143" cy="1331567"/>
          </a:xfr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21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3852134" y="1918886"/>
            <a:ext cx="2038400" cy="1331567"/>
          </a:xfr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31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6604000" y="1918886"/>
            <a:ext cx="2024090" cy="1331567"/>
          </a:xfr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  <p:sp>
        <p:nvSpPr>
          <p:cNvPr id="33" name="Content Placeholder 5"/>
          <p:cNvSpPr>
            <a:spLocks noGrp="1"/>
          </p:cNvSpPr>
          <p:nvPr>
            <p:ph sz="quarter" idx="24" hasCustomPrompt="1"/>
          </p:nvPr>
        </p:nvSpPr>
        <p:spPr>
          <a:xfrm>
            <a:off x="9285111" y="1918886"/>
            <a:ext cx="2038400" cy="1331567"/>
          </a:xfrm>
        </p:spPr>
        <p:txBody>
          <a:bodyPr anchor="ctr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Poppins Medium" panose="02000000000000000000" pitchFamily="2" charset="0"/>
              </a:defRPr>
            </a:lvl1pPr>
            <a:lvl2pPr marL="457200" indent="0"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None/>
              <a:defRPr sz="2000">
                <a:solidFill>
                  <a:schemeClr val="bg1"/>
                </a:solidFill>
              </a:defRPr>
            </a:lvl3pPr>
            <a:lvl4pPr marL="1371600" indent="0">
              <a:buNone/>
              <a:defRPr sz="2000">
                <a:solidFill>
                  <a:schemeClr val="bg1"/>
                </a:solidFill>
              </a:defRPr>
            </a:lvl4pPr>
            <a:lvl5pPr marL="1828800" indent="0">
              <a:buNone/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Goal 1 Here</a:t>
            </a:r>
          </a:p>
        </p:txBody>
      </p:sp>
    </p:spTree>
    <p:extLst>
      <p:ext uri="{BB962C8B-B14F-4D97-AF65-F5344CB8AC3E}">
        <p14:creationId xmlns:p14="http://schemas.microsoft.com/office/powerpoint/2010/main" val="6244355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-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652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Header Here</a:t>
            </a:r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46100" y="1901953"/>
            <a:ext cx="1860042" cy="522644"/>
          </a:xfrm>
        </p:spPr>
        <p:txBody>
          <a:bodyPr anchor="b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45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68968" y="1901953"/>
            <a:ext cx="1860042" cy="522644"/>
          </a:xfrm>
        </p:spPr>
        <p:txBody>
          <a:bodyPr anchor="b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46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767452" y="1893476"/>
            <a:ext cx="1860042" cy="522644"/>
          </a:xfrm>
        </p:spPr>
        <p:txBody>
          <a:bodyPr anchor="b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47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9931081" y="1881054"/>
            <a:ext cx="1860042" cy="522644"/>
          </a:xfrm>
        </p:spPr>
        <p:txBody>
          <a:bodyPr anchor="b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49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1375487" y="2688527"/>
            <a:ext cx="1860042" cy="522644"/>
          </a:xfrm>
        </p:spPr>
        <p:txBody>
          <a:bodyPr anchor="b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2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4498355" y="2688527"/>
            <a:ext cx="1860042" cy="522644"/>
          </a:xfrm>
        </p:spPr>
        <p:txBody>
          <a:bodyPr anchor="b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3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7596839" y="2680050"/>
            <a:ext cx="1860042" cy="522644"/>
          </a:xfrm>
        </p:spPr>
        <p:txBody>
          <a:bodyPr anchor="b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5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2954971" y="4664635"/>
            <a:ext cx="1860042" cy="522644"/>
          </a:xfrm>
        </p:spPr>
        <p:txBody>
          <a:bodyPr anchor="t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6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6053455" y="4656158"/>
            <a:ext cx="1860042" cy="522644"/>
          </a:xfrm>
        </p:spPr>
        <p:txBody>
          <a:bodyPr anchor="t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7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9217084" y="4643736"/>
            <a:ext cx="1860042" cy="522644"/>
          </a:xfrm>
        </p:spPr>
        <p:txBody>
          <a:bodyPr anchor="t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8" name="Text Placehold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2126494" y="5438070"/>
            <a:ext cx="1860042" cy="522644"/>
          </a:xfrm>
        </p:spPr>
        <p:txBody>
          <a:bodyPr anchor="t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59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5249362" y="5438070"/>
            <a:ext cx="1860042" cy="522644"/>
          </a:xfrm>
        </p:spPr>
        <p:txBody>
          <a:bodyPr anchor="t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60" name="Text Placehold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8347846" y="5429593"/>
            <a:ext cx="1860042" cy="522644"/>
          </a:xfrm>
        </p:spPr>
        <p:txBody>
          <a:bodyPr anchor="t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  <p:sp>
        <p:nvSpPr>
          <p:cNvPr id="65" name="Text Placehold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551245" y="4666331"/>
            <a:ext cx="1860042" cy="522644"/>
          </a:xfrm>
        </p:spPr>
        <p:txBody>
          <a:bodyPr anchor="t" anchorCtr="0"/>
          <a:lstStyle>
            <a:lvl1pPr marL="0" indent="0" algn="ctr">
              <a:buNone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Insert Short Text</a:t>
            </a:r>
          </a:p>
        </p:txBody>
      </p:sp>
    </p:spTree>
    <p:extLst>
      <p:ext uri="{BB962C8B-B14F-4D97-AF65-F5344CB8AC3E}">
        <p14:creationId xmlns:p14="http://schemas.microsoft.com/office/powerpoint/2010/main" val="33035163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-P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Timeline Title</a:t>
            </a:r>
          </a:p>
        </p:txBody>
      </p:sp>
      <p:cxnSp>
        <p:nvCxnSpPr>
          <p:cNvPr id="36" name="Straight Connector 35"/>
          <p:cNvCxnSpPr>
            <a:cxnSpLocks/>
          </p:cNvCxnSpPr>
          <p:nvPr userDrawn="1"/>
        </p:nvCxnSpPr>
        <p:spPr>
          <a:xfrm>
            <a:off x="609600" y="5770539"/>
            <a:ext cx="11019967" cy="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 userDrawn="1"/>
        </p:nvSpPr>
        <p:spPr>
          <a:xfrm>
            <a:off x="7815274" y="4476690"/>
            <a:ext cx="5886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+mn-cs"/>
              </a:rPr>
              <a:t>2018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787629" y="2885961"/>
            <a:ext cx="1819275" cy="421387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787629" y="3372206"/>
            <a:ext cx="1819275" cy="1152170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79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2990049" y="2046206"/>
            <a:ext cx="1819275" cy="430827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2</a:t>
            </a:r>
          </a:p>
        </p:txBody>
      </p:sp>
      <p:sp>
        <p:nvSpPr>
          <p:cNvPr id="80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2990049" y="2541891"/>
            <a:ext cx="1819275" cy="120246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81" name="Text Placeholder 75"/>
          <p:cNvSpPr>
            <a:spLocks noGrp="1"/>
          </p:cNvSpPr>
          <p:nvPr>
            <p:ph type="body" sz="quarter" idx="18" hasCustomPrompt="1"/>
          </p:nvPr>
        </p:nvSpPr>
        <p:spPr>
          <a:xfrm>
            <a:off x="5192469" y="2671688"/>
            <a:ext cx="1819275" cy="446872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979EA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3</a:t>
            </a:r>
          </a:p>
        </p:txBody>
      </p:sp>
      <p:sp>
        <p:nvSpPr>
          <p:cNvPr id="82" name="Text Placeholder 77"/>
          <p:cNvSpPr>
            <a:spLocks noGrp="1"/>
          </p:cNvSpPr>
          <p:nvPr>
            <p:ph type="body" sz="quarter" idx="19" hasCustomPrompt="1"/>
          </p:nvPr>
        </p:nvSpPr>
        <p:spPr>
          <a:xfrm>
            <a:off x="5192469" y="3183418"/>
            <a:ext cx="1819275" cy="122829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83" name="Text Placeholder 75"/>
          <p:cNvSpPr>
            <a:spLocks noGrp="1"/>
          </p:cNvSpPr>
          <p:nvPr>
            <p:ph type="body" sz="quarter" idx="20" hasCustomPrompt="1"/>
          </p:nvPr>
        </p:nvSpPr>
        <p:spPr>
          <a:xfrm>
            <a:off x="7402795" y="2025690"/>
            <a:ext cx="1819275" cy="446872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FFCF0B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4</a:t>
            </a:r>
          </a:p>
        </p:txBody>
      </p:sp>
      <p:sp>
        <p:nvSpPr>
          <p:cNvPr id="84" name="Text Placeholder 77"/>
          <p:cNvSpPr>
            <a:spLocks noGrp="1"/>
          </p:cNvSpPr>
          <p:nvPr>
            <p:ph type="body" sz="quarter" idx="21" hasCustomPrompt="1"/>
          </p:nvPr>
        </p:nvSpPr>
        <p:spPr>
          <a:xfrm>
            <a:off x="7402795" y="2537420"/>
            <a:ext cx="1819275" cy="122829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85" name="Text Placeholder 75"/>
          <p:cNvSpPr>
            <a:spLocks noGrp="1"/>
          </p:cNvSpPr>
          <p:nvPr>
            <p:ph type="body" sz="quarter" idx="22" hasCustomPrompt="1"/>
          </p:nvPr>
        </p:nvSpPr>
        <p:spPr>
          <a:xfrm>
            <a:off x="9596694" y="2688660"/>
            <a:ext cx="1819275" cy="446872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5</a:t>
            </a:r>
          </a:p>
        </p:txBody>
      </p:sp>
      <p:sp>
        <p:nvSpPr>
          <p:cNvPr id="86" name="Text Placeholder 77"/>
          <p:cNvSpPr>
            <a:spLocks noGrp="1"/>
          </p:cNvSpPr>
          <p:nvPr>
            <p:ph type="body" sz="quarter" idx="23" hasCustomPrompt="1"/>
          </p:nvPr>
        </p:nvSpPr>
        <p:spPr>
          <a:xfrm>
            <a:off x="9596694" y="3200390"/>
            <a:ext cx="1819275" cy="122829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</p:spTree>
    <p:extLst>
      <p:ext uri="{BB962C8B-B14F-4D97-AF65-F5344CB8AC3E}">
        <p14:creationId xmlns:p14="http://schemas.microsoft.com/office/powerpoint/2010/main" val="1509354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-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Timeline Title</a:t>
            </a:r>
          </a:p>
        </p:txBody>
      </p:sp>
      <p:cxnSp>
        <p:nvCxnSpPr>
          <p:cNvPr id="36" name="Straight Connector 35"/>
          <p:cNvCxnSpPr>
            <a:cxnSpLocks/>
          </p:cNvCxnSpPr>
          <p:nvPr userDrawn="1"/>
        </p:nvCxnSpPr>
        <p:spPr>
          <a:xfrm>
            <a:off x="609600" y="5770539"/>
            <a:ext cx="11019967" cy="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 userDrawn="1"/>
        </p:nvSpPr>
        <p:spPr>
          <a:xfrm>
            <a:off x="7815274" y="4476690"/>
            <a:ext cx="5886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+mn-cs"/>
              </a:rPr>
              <a:t>2018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994056" y="2885961"/>
            <a:ext cx="1536648" cy="42138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994055" y="3372206"/>
            <a:ext cx="1650955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79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3264131" y="2036374"/>
            <a:ext cx="1488043" cy="43082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2</a:t>
            </a:r>
          </a:p>
        </p:txBody>
      </p:sp>
      <p:sp>
        <p:nvSpPr>
          <p:cNvPr id="81" name="Text Placeholder 75"/>
          <p:cNvSpPr>
            <a:spLocks noGrp="1"/>
          </p:cNvSpPr>
          <p:nvPr>
            <p:ph type="body" sz="quarter" idx="18" hasCustomPrompt="1"/>
          </p:nvPr>
        </p:nvSpPr>
        <p:spPr>
          <a:xfrm>
            <a:off x="5440004" y="2701184"/>
            <a:ext cx="1476183" cy="44687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979EA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3</a:t>
            </a:r>
          </a:p>
        </p:txBody>
      </p:sp>
      <p:sp>
        <p:nvSpPr>
          <p:cNvPr id="83" name="Text Placeholder 75"/>
          <p:cNvSpPr>
            <a:spLocks noGrp="1"/>
          </p:cNvSpPr>
          <p:nvPr>
            <p:ph type="body" sz="quarter" idx="20" hasCustomPrompt="1"/>
          </p:nvPr>
        </p:nvSpPr>
        <p:spPr>
          <a:xfrm>
            <a:off x="7641368" y="2055493"/>
            <a:ext cx="1406796" cy="44687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FFCF0B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4</a:t>
            </a:r>
          </a:p>
        </p:txBody>
      </p:sp>
      <p:sp>
        <p:nvSpPr>
          <p:cNvPr id="85" name="Text Placeholder 75"/>
          <p:cNvSpPr>
            <a:spLocks noGrp="1"/>
          </p:cNvSpPr>
          <p:nvPr>
            <p:ph type="body" sz="quarter" idx="22" hasCustomPrompt="1"/>
          </p:nvPr>
        </p:nvSpPr>
        <p:spPr>
          <a:xfrm>
            <a:off x="9824269" y="2707710"/>
            <a:ext cx="1534550" cy="44687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5</a:t>
            </a:r>
          </a:p>
        </p:txBody>
      </p:sp>
      <p:sp>
        <p:nvSpPr>
          <p:cNvPr id="57" name="Text Placeholder 77"/>
          <p:cNvSpPr>
            <a:spLocks noGrp="1"/>
          </p:cNvSpPr>
          <p:nvPr>
            <p:ph type="body" sz="quarter" idx="24" hasCustomPrompt="1"/>
          </p:nvPr>
        </p:nvSpPr>
        <p:spPr>
          <a:xfrm>
            <a:off x="3272329" y="2521876"/>
            <a:ext cx="1531116" cy="1212649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58" name="Text Placeholder 77"/>
          <p:cNvSpPr>
            <a:spLocks noGrp="1"/>
          </p:cNvSpPr>
          <p:nvPr>
            <p:ph type="body" sz="quarter" idx="25" hasCustomPrompt="1"/>
          </p:nvPr>
        </p:nvSpPr>
        <p:spPr>
          <a:xfrm>
            <a:off x="5440003" y="3209315"/>
            <a:ext cx="1617359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59" name="Text Placeholder 77"/>
          <p:cNvSpPr>
            <a:spLocks noGrp="1"/>
          </p:cNvSpPr>
          <p:nvPr>
            <p:ph type="body" sz="quarter" idx="26" hasCustomPrompt="1"/>
          </p:nvPr>
        </p:nvSpPr>
        <p:spPr>
          <a:xfrm>
            <a:off x="7648015" y="2563866"/>
            <a:ext cx="1615611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60" name="Text Placeholder 77"/>
          <p:cNvSpPr>
            <a:spLocks noGrp="1"/>
          </p:cNvSpPr>
          <p:nvPr>
            <p:ph type="body" sz="quarter" idx="27" hasCustomPrompt="1"/>
          </p:nvPr>
        </p:nvSpPr>
        <p:spPr>
          <a:xfrm>
            <a:off x="9824268" y="3214876"/>
            <a:ext cx="1627674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720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/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istory/Timeline Title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21389" y="1978604"/>
            <a:ext cx="2558259" cy="460743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21390" y="2533687"/>
            <a:ext cx="2558258" cy="1101363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 userDrawn="1"/>
        </p:nvCxnSpPr>
        <p:spPr>
          <a:xfrm>
            <a:off x="609600" y="3983890"/>
            <a:ext cx="10987088" cy="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 Placeholder 75"/>
          <p:cNvSpPr>
            <a:spLocks noGrp="1"/>
          </p:cNvSpPr>
          <p:nvPr>
            <p:ph type="body" sz="quarter" idx="28" hasCustomPrompt="1"/>
          </p:nvPr>
        </p:nvSpPr>
        <p:spPr>
          <a:xfrm>
            <a:off x="3227161" y="4275610"/>
            <a:ext cx="2558259" cy="483405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92" name="Text Placeholder 77"/>
          <p:cNvSpPr>
            <a:spLocks noGrp="1"/>
          </p:cNvSpPr>
          <p:nvPr>
            <p:ph type="body" sz="quarter" idx="29" hasCustomPrompt="1"/>
          </p:nvPr>
        </p:nvSpPr>
        <p:spPr>
          <a:xfrm>
            <a:off x="3227162" y="4863525"/>
            <a:ext cx="2558258" cy="1086171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101" name="Text Placeholder 75"/>
          <p:cNvSpPr>
            <a:spLocks noGrp="1"/>
          </p:cNvSpPr>
          <p:nvPr>
            <p:ph type="body" sz="quarter" idx="30" hasCustomPrompt="1"/>
          </p:nvPr>
        </p:nvSpPr>
        <p:spPr>
          <a:xfrm>
            <a:off x="5205974" y="1978604"/>
            <a:ext cx="2558259" cy="47036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979EA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102" name="Text Placeholder 77"/>
          <p:cNvSpPr>
            <a:spLocks noGrp="1"/>
          </p:cNvSpPr>
          <p:nvPr>
            <p:ph type="body" sz="quarter" idx="31" hasCustomPrompt="1"/>
          </p:nvPr>
        </p:nvSpPr>
        <p:spPr>
          <a:xfrm>
            <a:off x="5205975" y="2555222"/>
            <a:ext cx="2558258" cy="1079828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108" name="Text Placeholder 75"/>
          <p:cNvSpPr>
            <a:spLocks noGrp="1"/>
          </p:cNvSpPr>
          <p:nvPr>
            <p:ph type="body" sz="quarter" idx="32" hasCustomPrompt="1"/>
          </p:nvPr>
        </p:nvSpPr>
        <p:spPr>
          <a:xfrm>
            <a:off x="7073672" y="4311264"/>
            <a:ext cx="2558259" cy="45082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FFCF0B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109" name="Text Placeholder 77"/>
          <p:cNvSpPr>
            <a:spLocks noGrp="1"/>
          </p:cNvSpPr>
          <p:nvPr>
            <p:ph type="body" sz="quarter" idx="33" hasCustomPrompt="1"/>
          </p:nvPr>
        </p:nvSpPr>
        <p:spPr>
          <a:xfrm>
            <a:off x="7073673" y="4863525"/>
            <a:ext cx="2558258" cy="1086171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113" name="Text Placeholder 75"/>
          <p:cNvSpPr>
            <a:spLocks noGrp="1"/>
          </p:cNvSpPr>
          <p:nvPr>
            <p:ph type="body" sz="quarter" idx="34" hasCustomPrompt="1"/>
          </p:nvPr>
        </p:nvSpPr>
        <p:spPr>
          <a:xfrm>
            <a:off x="8962201" y="1978604"/>
            <a:ext cx="2558259" cy="48663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114" name="Text Placeholder 77"/>
          <p:cNvSpPr>
            <a:spLocks noGrp="1"/>
          </p:cNvSpPr>
          <p:nvPr>
            <p:ph type="body" sz="quarter" idx="35" hasCustomPrompt="1"/>
          </p:nvPr>
        </p:nvSpPr>
        <p:spPr>
          <a:xfrm>
            <a:off x="8962202" y="2555223"/>
            <a:ext cx="2558258" cy="1079827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36" hasCustomPrompt="1"/>
          </p:nvPr>
        </p:nvSpPr>
        <p:spPr>
          <a:xfrm>
            <a:off x="661816" y="2465242"/>
            <a:ext cx="293232" cy="1320854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120" name="Text Placeholder 24"/>
          <p:cNvSpPr>
            <a:spLocks noGrp="1"/>
          </p:cNvSpPr>
          <p:nvPr>
            <p:ph type="body" sz="quarter" idx="37" hasCustomPrompt="1"/>
          </p:nvPr>
        </p:nvSpPr>
        <p:spPr>
          <a:xfrm>
            <a:off x="4459020" y="2465241"/>
            <a:ext cx="293232" cy="1296254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979EA1"/>
                </a:solidFill>
                <a:latin typeface="Poppins" panose="02000000000000000000" pitchFamily="2" charset="0"/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121" name="Text Placeholder 24"/>
          <p:cNvSpPr>
            <a:spLocks noGrp="1"/>
          </p:cNvSpPr>
          <p:nvPr>
            <p:ph type="body" sz="quarter" idx="38" hasCustomPrompt="1"/>
          </p:nvPr>
        </p:nvSpPr>
        <p:spPr>
          <a:xfrm>
            <a:off x="2508927" y="4138352"/>
            <a:ext cx="293232" cy="1360778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122" name="Text Placeholder 24"/>
          <p:cNvSpPr>
            <a:spLocks noGrp="1"/>
          </p:cNvSpPr>
          <p:nvPr>
            <p:ph type="body" sz="quarter" idx="39" hasCustomPrompt="1"/>
          </p:nvPr>
        </p:nvSpPr>
        <p:spPr>
          <a:xfrm>
            <a:off x="8219084" y="2439348"/>
            <a:ext cx="293232" cy="1346748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  <p:sp>
        <p:nvSpPr>
          <p:cNvPr id="123" name="Text Placeholder 24"/>
          <p:cNvSpPr>
            <a:spLocks noGrp="1"/>
          </p:cNvSpPr>
          <p:nvPr>
            <p:ph type="body" sz="quarter" idx="40" hasCustomPrompt="1"/>
          </p:nvPr>
        </p:nvSpPr>
        <p:spPr>
          <a:xfrm>
            <a:off x="6349236" y="4138352"/>
            <a:ext cx="293232" cy="1360778"/>
          </a:xfrm>
        </p:spPr>
        <p:txBody>
          <a:bodyPr vert="vert270" anchor="b" anchorCtr="0"/>
          <a:lstStyle>
            <a:lvl1pPr marL="0" indent="0" algn="ctr">
              <a:buNone/>
              <a:defRPr sz="1900" b="1">
                <a:solidFill>
                  <a:srgbClr val="FFCF0B"/>
                </a:solidFill>
                <a:latin typeface="Poppins" panose="02000000000000000000" pitchFamily="2" charset="0"/>
              </a:defRPr>
            </a:lvl1pPr>
            <a:lvl2pPr>
              <a:defRPr>
                <a:solidFill>
                  <a:srgbClr val="77BC1F"/>
                </a:solidFill>
              </a:defRPr>
            </a:lvl2pPr>
            <a:lvl3pPr>
              <a:defRPr>
                <a:solidFill>
                  <a:srgbClr val="77BC1F"/>
                </a:solidFill>
              </a:defRPr>
            </a:lvl3pPr>
            <a:lvl4pPr>
              <a:defRPr>
                <a:solidFill>
                  <a:srgbClr val="77BC1F"/>
                </a:solidFill>
              </a:defRPr>
            </a:lvl4pPr>
            <a:lvl5pPr>
              <a:defRPr>
                <a:solidFill>
                  <a:srgbClr val="77BC1F"/>
                </a:solidFill>
              </a:defRPr>
            </a:lvl5pPr>
          </a:lstStyle>
          <a:p>
            <a:pPr lvl="0"/>
            <a:r>
              <a:rPr lang="en-US" dirty="0"/>
              <a:t>Year</a:t>
            </a:r>
          </a:p>
        </p:txBody>
      </p:sp>
    </p:spTree>
    <p:extLst>
      <p:ext uri="{BB962C8B-B14F-4D97-AF65-F5344CB8AC3E}">
        <p14:creationId xmlns:p14="http://schemas.microsoft.com/office/powerpoint/2010/main" val="2271171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-Break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istory/Timeline Title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68982" y="2547110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68982" y="3224113"/>
            <a:ext cx="3615081" cy="1823375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 userDrawn="1"/>
        </p:nvCxnSpPr>
        <p:spPr>
          <a:xfrm>
            <a:off x="6029992" y="1828800"/>
            <a:ext cx="17240" cy="502920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Oval 105"/>
          <p:cNvSpPr/>
          <p:nvPr userDrawn="1"/>
        </p:nvSpPr>
        <p:spPr>
          <a:xfrm>
            <a:off x="5769230" y="1825617"/>
            <a:ext cx="506413" cy="506413"/>
          </a:xfrm>
          <a:prstGeom prst="ellipse">
            <a:avLst/>
          </a:prstGeom>
          <a:solidFill>
            <a:srgbClr val="53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+mn-cs"/>
            </a:endParaRPr>
          </a:p>
        </p:txBody>
      </p:sp>
      <p:sp>
        <p:nvSpPr>
          <p:cNvPr id="53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7018983" y="3831336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54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7018983" y="4508339"/>
            <a:ext cx="3615081" cy="1441357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4642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-Breakou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68982" y="949958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979EA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68982" y="1626961"/>
            <a:ext cx="3615081" cy="1823375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 userDrawn="1"/>
        </p:nvCxnSpPr>
        <p:spPr>
          <a:xfrm>
            <a:off x="6023723" y="0"/>
            <a:ext cx="23509" cy="685800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7018983" y="3209544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FFCF0B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54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7018983" y="3886547"/>
            <a:ext cx="3615081" cy="1819309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663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meline-Break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68982" y="949958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53555C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68982" y="1626961"/>
            <a:ext cx="3615081" cy="1823375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 userDrawn="1"/>
        </p:nvCxnSpPr>
        <p:spPr>
          <a:xfrm>
            <a:off x="6023723" y="0"/>
            <a:ext cx="18347" cy="5352288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7018983" y="2673096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54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7018983" y="3350099"/>
            <a:ext cx="3615081" cy="1819309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17" name="Oval 16"/>
          <p:cNvSpPr/>
          <p:nvPr userDrawn="1"/>
        </p:nvSpPr>
        <p:spPr>
          <a:xfrm>
            <a:off x="5794518" y="5352288"/>
            <a:ext cx="506413" cy="506413"/>
          </a:xfrm>
          <a:prstGeom prst="ellipse">
            <a:avLst/>
          </a:prstGeom>
          <a:solidFill>
            <a:srgbClr val="53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9646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606353-FA60-4AA2-8741-2D72D1F0AF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7090" y="6324600"/>
            <a:ext cx="2844800" cy="304800"/>
          </a:xfrm>
        </p:spPr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677406-D7E0-4DA2-AC81-AADCE80034A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Cera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985319B-D599-4356-968D-1FE6F3C356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74548" y="2989646"/>
            <a:ext cx="6172200" cy="2286001"/>
          </a:xfrm>
        </p:spPr>
        <p:txBody>
          <a:bodyPr anchor="b">
            <a:normAutofit/>
          </a:bodyPr>
          <a:lstStyle>
            <a:lvl1pPr algn="l">
              <a:defRPr sz="4000" b="1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D08E1809-A7AB-4162-B614-68242F1C9E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74548" y="5368781"/>
            <a:ext cx="6172200" cy="17526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Poppins Light" panose="02000000000000000000" pitchFamily="2" charset="0"/>
                <a:cs typeface="Poppins Light" panose="02000000000000000000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79883490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: 4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627082" y="1898650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030413" y="1898650"/>
            <a:ext cx="3925886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2030413" y="2493703"/>
            <a:ext cx="3925887" cy="439995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cxnSp>
        <p:nvCxnSpPr>
          <p:cNvPr id="36" name="Straight Connector 35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Picture Placeholder 14"/>
          <p:cNvSpPr>
            <a:spLocks noGrp="1"/>
          </p:cNvSpPr>
          <p:nvPr>
            <p:ph type="pic" sz="quarter" idx="72" hasCustomPrompt="1"/>
          </p:nvPr>
        </p:nvSpPr>
        <p:spPr>
          <a:xfrm>
            <a:off x="6279375" y="1895374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73" hasCustomPrompt="1"/>
          </p:nvPr>
        </p:nvSpPr>
        <p:spPr>
          <a:xfrm>
            <a:off x="7682705" y="1895374"/>
            <a:ext cx="3861593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74" hasCustomPrompt="1"/>
          </p:nvPr>
        </p:nvSpPr>
        <p:spPr>
          <a:xfrm>
            <a:off x="7682706" y="2490427"/>
            <a:ext cx="3861594" cy="439995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33" name="Picture Placeholder 14"/>
          <p:cNvSpPr>
            <a:spLocks noGrp="1"/>
          </p:cNvSpPr>
          <p:nvPr>
            <p:ph type="pic" sz="quarter" idx="76" hasCustomPrompt="1"/>
          </p:nvPr>
        </p:nvSpPr>
        <p:spPr>
          <a:xfrm>
            <a:off x="627082" y="3705032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77" hasCustomPrompt="1"/>
          </p:nvPr>
        </p:nvSpPr>
        <p:spPr>
          <a:xfrm>
            <a:off x="2030413" y="3705032"/>
            <a:ext cx="3925886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78" hasCustomPrompt="1"/>
          </p:nvPr>
        </p:nvSpPr>
        <p:spPr>
          <a:xfrm>
            <a:off x="2030413" y="4300086"/>
            <a:ext cx="3925887" cy="44971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39" name="Picture Placeholder 14"/>
          <p:cNvSpPr>
            <a:spLocks noGrp="1"/>
          </p:cNvSpPr>
          <p:nvPr>
            <p:ph type="pic" sz="quarter" idx="80" hasCustomPrompt="1"/>
          </p:nvPr>
        </p:nvSpPr>
        <p:spPr>
          <a:xfrm>
            <a:off x="6279375" y="3701756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0" name="Text Placeholder 22"/>
          <p:cNvSpPr>
            <a:spLocks noGrp="1"/>
          </p:cNvSpPr>
          <p:nvPr>
            <p:ph type="body" sz="quarter" idx="81" hasCustomPrompt="1"/>
          </p:nvPr>
        </p:nvSpPr>
        <p:spPr>
          <a:xfrm>
            <a:off x="7682705" y="3701756"/>
            <a:ext cx="3861593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 on top line</a:t>
            </a:r>
            <a:br>
              <a:rPr lang="en-US" dirty="0"/>
            </a:br>
            <a:r>
              <a:rPr lang="en-US" dirty="0"/>
              <a:t>and title on second line</a:t>
            </a:r>
          </a:p>
        </p:txBody>
      </p:sp>
      <p:sp>
        <p:nvSpPr>
          <p:cNvPr id="41" name="Text Placeholder 22"/>
          <p:cNvSpPr>
            <a:spLocks noGrp="1"/>
          </p:cNvSpPr>
          <p:nvPr>
            <p:ph type="body" sz="quarter" idx="82" hasCustomPrompt="1"/>
          </p:nvPr>
        </p:nvSpPr>
        <p:spPr>
          <a:xfrm>
            <a:off x="7682706" y="4296810"/>
            <a:ext cx="3861594" cy="44971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/s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652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Header Here</a:t>
            </a:r>
          </a:p>
        </p:txBody>
      </p:sp>
    </p:spTree>
    <p:extLst>
      <p:ext uri="{BB962C8B-B14F-4D97-AF65-F5344CB8AC3E}">
        <p14:creationId xmlns:p14="http://schemas.microsoft.com/office/powerpoint/2010/main" val="8524807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am: 6 Spa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 hasCustomPrompt="1"/>
          </p:nvPr>
        </p:nvSpPr>
        <p:spPr>
          <a:xfrm>
            <a:off x="627082" y="1746250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2068513" y="1835150"/>
            <a:ext cx="3049586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2068513" y="2430204"/>
            <a:ext cx="3049587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cxnSp>
        <p:nvCxnSpPr>
          <p:cNvPr id="36" name="Straight Connector 35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Picture Placeholder 14"/>
          <p:cNvSpPr>
            <a:spLocks noGrp="1"/>
          </p:cNvSpPr>
          <p:nvPr>
            <p:ph type="pic" sz="quarter" idx="21" hasCustomPrompt="1"/>
          </p:nvPr>
        </p:nvSpPr>
        <p:spPr>
          <a:xfrm>
            <a:off x="609600" y="3331935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3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051031" y="3420835"/>
            <a:ext cx="3049586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44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2051031" y="4015889"/>
            <a:ext cx="3049587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45" name="Picture Placeholder 14"/>
          <p:cNvSpPr>
            <a:spLocks noGrp="1"/>
          </p:cNvSpPr>
          <p:nvPr>
            <p:ph type="pic" sz="quarter" idx="24" hasCustomPrompt="1"/>
          </p:nvPr>
        </p:nvSpPr>
        <p:spPr>
          <a:xfrm>
            <a:off x="627082" y="4933931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6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2068513" y="5022831"/>
            <a:ext cx="3049586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6" hasCustomPrompt="1"/>
          </p:nvPr>
        </p:nvSpPr>
        <p:spPr>
          <a:xfrm>
            <a:off x="2068513" y="5617885"/>
            <a:ext cx="3049587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48" name="Picture Placeholder 14"/>
          <p:cNvSpPr>
            <a:spLocks noGrp="1"/>
          </p:cNvSpPr>
          <p:nvPr>
            <p:ph type="pic" sz="quarter" idx="27" hasCustomPrompt="1"/>
          </p:nvPr>
        </p:nvSpPr>
        <p:spPr>
          <a:xfrm>
            <a:off x="5513407" y="1805024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49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6954838" y="1893924"/>
            <a:ext cx="3049586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50" name="Text Placehold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6954838" y="2488978"/>
            <a:ext cx="3049587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51" name="Picture Placeholder 14"/>
          <p:cNvSpPr>
            <a:spLocks noGrp="1"/>
          </p:cNvSpPr>
          <p:nvPr>
            <p:ph type="pic" sz="quarter" idx="30" hasCustomPrompt="1"/>
          </p:nvPr>
        </p:nvSpPr>
        <p:spPr>
          <a:xfrm>
            <a:off x="5495925" y="3390709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56" name="Text Placehold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6937356" y="3479609"/>
            <a:ext cx="3049586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57" name="Text Placeholder 22"/>
          <p:cNvSpPr>
            <a:spLocks noGrp="1"/>
          </p:cNvSpPr>
          <p:nvPr>
            <p:ph type="body" sz="quarter" idx="32" hasCustomPrompt="1"/>
          </p:nvPr>
        </p:nvSpPr>
        <p:spPr>
          <a:xfrm>
            <a:off x="6937356" y="4074663"/>
            <a:ext cx="3049587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58" name="Picture Placeholder 14"/>
          <p:cNvSpPr>
            <a:spLocks noGrp="1"/>
          </p:cNvSpPr>
          <p:nvPr>
            <p:ph type="pic" sz="quarter" idx="33" hasCustomPrompt="1"/>
          </p:nvPr>
        </p:nvSpPr>
        <p:spPr>
          <a:xfrm>
            <a:off x="5513407" y="4992705"/>
            <a:ext cx="1310303" cy="1301264"/>
          </a:xfrm>
          <a:prstGeom prst="ellipse">
            <a:avLst/>
          </a:prstGeom>
        </p:spPr>
        <p:txBody>
          <a:bodyPr anchor="ctr" anchorCtr="0">
            <a:noAutofit/>
          </a:bodyPr>
          <a:lstStyle>
            <a:lvl1pPr marL="0" indent="0" algn="ctr">
              <a:lnSpc>
                <a:spcPts val="1700"/>
              </a:lnSpc>
              <a:spcBef>
                <a:spcPts val="0"/>
              </a:spcBef>
              <a:buNone/>
              <a:defRPr sz="1800">
                <a:solidFill>
                  <a:srgbClr val="979EA1"/>
                </a:solidFill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Drag your picture here</a:t>
            </a:r>
          </a:p>
        </p:txBody>
      </p:sp>
      <p:sp>
        <p:nvSpPr>
          <p:cNvPr id="59" name="Text Placehold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6954838" y="5081605"/>
            <a:ext cx="3049586" cy="528378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name</a:t>
            </a:r>
            <a:br>
              <a:rPr lang="en-US" dirty="0"/>
            </a:br>
            <a:r>
              <a:rPr lang="en-US" dirty="0"/>
              <a:t>and tile</a:t>
            </a:r>
          </a:p>
        </p:txBody>
      </p:sp>
      <p:sp>
        <p:nvSpPr>
          <p:cNvPr id="60" name="Text Placehold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6954838" y="5676659"/>
            <a:ext cx="3049587" cy="605096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5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r>
              <a:rPr lang="en-US" dirty="0"/>
              <a:t>Mobile #1</a:t>
            </a:r>
          </a:p>
          <a:p>
            <a:pPr lvl="0"/>
            <a:endParaRPr lang="en-US" dirty="0"/>
          </a:p>
        </p:txBody>
      </p:sp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733652"/>
            <a:ext cx="10987312" cy="5506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Header Here</a:t>
            </a:r>
          </a:p>
        </p:txBody>
      </p:sp>
    </p:spTree>
    <p:extLst>
      <p:ext uri="{BB962C8B-B14F-4D97-AF65-F5344CB8AC3E}">
        <p14:creationId xmlns:p14="http://schemas.microsoft.com/office/powerpoint/2010/main" val="361443576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5654398" y="2626511"/>
            <a:ext cx="4466753" cy="52590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Name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6" hasCustomPrompt="1"/>
          </p:nvPr>
        </p:nvSpPr>
        <p:spPr>
          <a:xfrm>
            <a:off x="5654399" y="3226724"/>
            <a:ext cx="4466754" cy="172122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ntac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endParaRPr lang="en-US" dirty="0"/>
          </a:p>
        </p:txBody>
      </p:sp>
      <p:sp>
        <p:nvSpPr>
          <p:cNvPr id="61" name="TextBox 60"/>
          <p:cNvSpPr txBox="1"/>
          <p:nvPr userDrawn="1"/>
        </p:nvSpPr>
        <p:spPr>
          <a:xfrm>
            <a:off x="609598" y="554264"/>
            <a:ext cx="10987314" cy="86586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00" b="0" i="0" u="none" strike="noStrike" kern="1200" cap="none" spc="0" normalizeH="0" baseline="0" noProof="0" dirty="0">
                <a:ln>
                  <a:noFill/>
                </a:ln>
                <a:solidFill>
                  <a:srgbClr val="77BC1F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+mn-cs"/>
              </a:rPr>
              <a:t>References</a:t>
            </a:r>
          </a:p>
        </p:txBody>
      </p:sp>
      <p:cxnSp>
        <p:nvCxnSpPr>
          <p:cNvPr id="29" name="Straight Connector 28"/>
          <p:cNvCxnSpPr>
            <a:cxnSpLocks/>
          </p:cNvCxnSpPr>
          <p:nvPr userDrawn="1"/>
        </p:nvCxnSpPr>
        <p:spPr>
          <a:xfrm>
            <a:off x="5647764" y="2492188"/>
            <a:ext cx="4473387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609598" y="2626511"/>
            <a:ext cx="4466753" cy="52590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Name</a:t>
            </a:r>
          </a:p>
        </p:txBody>
      </p:sp>
      <p:sp>
        <p:nvSpPr>
          <p:cNvPr id="32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609599" y="3226724"/>
            <a:ext cx="4466754" cy="172122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ntac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endParaRPr lang="en-US" dirty="0"/>
          </a:p>
        </p:txBody>
      </p:sp>
      <p:cxnSp>
        <p:nvCxnSpPr>
          <p:cNvPr id="33" name="Straight Connector 32"/>
          <p:cNvCxnSpPr>
            <a:cxnSpLocks/>
          </p:cNvCxnSpPr>
          <p:nvPr userDrawn="1"/>
        </p:nvCxnSpPr>
        <p:spPr>
          <a:xfrm>
            <a:off x="602964" y="2492188"/>
            <a:ext cx="4473387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02929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VP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605288" y="2189748"/>
            <a:ext cx="3991622" cy="52590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title for “The Other Guys”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609598" y="2189748"/>
            <a:ext cx="3980331" cy="525904"/>
          </a:xfrm>
        </p:spPr>
        <p:txBody>
          <a:bodyPr lIns="0" tIns="0" rIns="0" bIns="0" anchor="b" anchorCtr="0">
            <a:noAutofit/>
          </a:bodyPr>
          <a:lstStyle>
            <a:lvl1pPr marL="0" indent="0" algn="r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CommerceVantage title</a:t>
            </a:r>
          </a:p>
        </p:txBody>
      </p:sp>
      <p:sp>
        <p:nvSpPr>
          <p:cNvPr id="32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609599" y="2963249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17" name="Text Placeholder 22"/>
          <p:cNvSpPr>
            <a:spLocks noGrp="1"/>
          </p:cNvSpPr>
          <p:nvPr>
            <p:ph type="body" sz="quarter" idx="30" hasCustomPrompt="1"/>
          </p:nvPr>
        </p:nvSpPr>
        <p:spPr>
          <a:xfrm>
            <a:off x="7605290" y="2963249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cxnSp>
        <p:nvCxnSpPr>
          <p:cNvPr id="4" name="Straight Connector 3"/>
          <p:cNvCxnSpPr>
            <a:cxnSpLocks/>
          </p:cNvCxnSpPr>
          <p:nvPr userDrawn="1"/>
        </p:nvCxnSpPr>
        <p:spPr>
          <a:xfrm>
            <a:off x="6078071" y="2321859"/>
            <a:ext cx="8965" cy="3451412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7" name="Text Placehold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620887" y="3876004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32" hasCustomPrompt="1"/>
          </p:nvPr>
        </p:nvSpPr>
        <p:spPr>
          <a:xfrm>
            <a:off x="7616578" y="3876004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620887" y="4813249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39" name="Text Placehold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7616578" y="4813249"/>
            <a:ext cx="3980332" cy="78050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Insert description of program characteristic and differentiator</a:t>
            </a:r>
          </a:p>
        </p:txBody>
      </p:sp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609600" y="577369"/>
            <a:ext cx="10987312" cy="84913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17870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 Placeholder 22"/>
          <p:cNvSpPr>
            <a:spLocks noGrp="1"/>
          </p:cNvSpPr>
          <p:nvPr>
            <p:ph type="body" sz="quarter" idx="29" hasCustomPrompt="1"/>
          </p:nvPr>
        </p:nvSpPr>
        <p:spPr>
          <a:xfrm>
            <a:off x="609599" y="2655045"/>
            <a:ext cx="10677525" cy="1084913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</a:t>
            </a:r>
          </a:p>
          <a:p>
            <a:pPr lvl="0"/>
            <a:r>
              <a:rPr lang="en-US" dirty="0"/>
              <a:t>Service Hours</a:t>
            </a:r>
          </a:p>
          <a:p>
            <a:pPr lvl="0"/>
            <a:r>
              <a:rPr lang="en-US" dirty="0"/>
              <a:t>Additional Information</a:t>
            </a:r>
          </a:p>
        </p:txBody>
      </p:sp>
      <p:sp>
        <p:nvSpPr>
          <p:cNvPr id="27" name="Text Placeholder 22"/>
          <p:cNvSpPr>
            <a:spLocks noGrp="1"/>
          </p:cNvSpPr>
          <p:nvPr>
            <p:ph type="body" sz="quarter" idx="30" hasCustomPrompt="1"/>
          </p:nvPr>
        </p:nvSpPr>
        <p:spPr>
          <a:xfrm>
            <a:off x="609599" y="4515191"/>
            <a:ext cx="10677525" cy="1084913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</a:t>
            </a:r>
          </a:p>
          <a:p>
            <a:pPr lvl="0"/>
            <a:r>
              <a:rPr lang="en-US" dirty="0"/>
              <a:t>Service Hours</a:t>
            </a:r>
          </a:p>
          <a:p>
            <a:pPr lvl="0"/>
            <a:r>
              <a:rPr lang="en-US" dirty="0"/>
              <a:t>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6529385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626845" y="1248893"/>
            <a:ext cx="6677066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6845" y="457716"/>
            <a:ext cx="7239499" cy="757310"/>
          </a:xfrm>
        </p:spPr>
        <p:txBody>
          <a:bodyPr anchor="b"/>
          <a:lstStyle>
            <a:lvl1pPr>
              <a:defRPr sz="3000" b="1">
                <a:latin typeface="Poppins" panose="02000000000000000000" pitchFamily="2" charset="0"/>
              </a:defRPr>
            </a:lvl1pPr>
          </a:lstStyle>
          <a:p>
            <a:r>
              <a:rPr lang="en-US" dirty="0"/>
              <a:t>Insert client nam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939724" y="2813024"/>
            <a:ext cx="4400116" cy="243005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i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Insert testimonial quote here – no need for quotation marks.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3" hasCustomPrompt="1"/>
          </p:nvPr>
        </p:nvSpPr>
        <p:spPr>
          <a:xfrm>
            <a:off x="626847" y="1439863"/>
            <a:ext cx="5712994" cy="959995"/>
          </a:xfrm>
        </p:spPr>
        <p:txBody>
          <a:bodyPr/>
          <a:lstStyle>
            <a:lvl1pPr marL="0" indent="0">
              <a:buNone/>
              <a:defRPr sz="2200">
                <a:latin typeface="Poppins" panose="02000000000000000000" pitchFamily="2" charset="0"/>
              </a:defRPr>
            </a:lvl1pPr>
            <a:lvl2pPr marL="457200" indent="0">
              <a:buNone/>
              <a:defRPr sz="2600"/>
            </a:lvl2pPr>
            <a:lvl3pPr marL="914400" indent="0">
              <a:buNone/>
              <a:defRPr sz="2600"/>
            </a:lvl3pPr>
            <a:lvl4pPr marL="1371600" indent="0">
              <a:buNone/>
              <a:defRPr sz="2600"/>
            </a:lvl4pPr>
            <a:lvl5pPr marL="1828800" indent="0">
              <a:buNone/>
              <a:defRPr sz="2600"/>
            </a:lvl5pPr>
          </a:lstStyle>
          <a:p>
            <a:pPr lvl="0"/>
            <a:r>
              <a:rPr lang="en-US" dirty="0"/>
              <a:t>Insert short description of testimonial connection to client</a:t>
            </a:r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4" hasCustomPrompt="1"/>
          </p:nvPr>
        </p:nvSpPr>
        <p:spPr>
          <a:xfrm>
            <a:off x="1939289" y="5401564"/>
            <a:ext cx="4400573" cy="55458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53555C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 dirty="0"/>
              <a:t>Insert Name of </a:t>
            </a:r>
            <a:br>
              <a:rPr lang="en-US" dirty="0"/>
            </a:br>
            <a:r>
              <a:rPr lang="en-US" dirty="0"/>
              <a:t>Insert Title (not company again)</a:t>
            </a:r>
          </a:p>
        </p:txBody>
      </p:sp>
      <p:sp>
        <p:nvSpPr>
          <p:cNvPr id="33" name="Picture Placeholder 32"/>
          <p:cNvSpPr>
            <a:spLocks noGrp="1"/>
          </p:cNvSpPr>
          <p:nvPr>
            <p:ph type="pic" idx="1" hasCustomPrompt="1"/>
          </p:nvPr>
        </p:nvSpPr>
        <p:spPr>
          <a:xfrm>
            <a:off x="6681216" y="829057"/>
            <a:ext cx="4767256" cy="36088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None/>
              <a:defRPr sz="3200">
                <a:solidFill>
                  <a:srgbClr val="CACDCC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Insert picture, tight crop, or use stock imag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747" y="2789996"/>
            <a:ext cx="1161288" cy="116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69211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out Comme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About Commerce Bank</a:t>
            </a:r>
          </a:p>
        </p:txBody>
      </p:sp>
    </p:spTree>
    <p:extLst>
      <p:ext uri="{BB962C8B-B14F-4D97-AF65-F5344CB8AC3E}">
        <p14:creationId xmlns:p14="http://schemas.microsoft.com/office/powerpoint/2010/main" val="95712543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e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701" y="6349759"/>
            <a:ext cx="2053767" cy="315020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11268075" y="6298293"/>
            <a:ext cx="0" cy="365125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3"/>
          <p:cNvSpPr txBox="1">
            <a:spLocks/>
          </p:cNvSpPr>
          <p:nvPr userDrawn="1"/>
        </p:nvSpPr>
        <p:spPr>
          <a:xfrm>
            <a:off x="11273063" y="6349759"/>
            <a:ext cx="323849" cy="29143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32E3B9-EECE-4A89-A6AF-ECDA09B9D2C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5507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 flipH="1">
            <a:off x="3556000" y="533400"/>
            <a:ext cx="8636000" cy="0"/>
          </a:xfrm>
          <a:prstGeom prst="line">
            <a:avLst/>
          </a:prstGeom>
          <a:ln w="25400">
            <a:solidFill>
              <a:srgbClr val="92D050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556000" y="76201"/>
            <a:ext cx="8432800" cy="4111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203200" y="6415622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E13663-FBC8-44E6-A1CC-9F86CC500541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53555C">
                    <a:lumMod val="65000"/>
                    <a:lumOff val="35000"/>
                  </a:srgbClr>
                </a:solidFill>
                <a:effectLst/>
                <a:uLnTx/>
                <a:uFillTx/>
                <a:latin typeface="Cera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3555C">
                  <a:lumMod val="65000"/>
                  <a:lumOff val="35000"/>
                </a:srgbClr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29308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714500"/>
            <a:ext cx="10987313" cy="390525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>
                <a:solidFill>
                  <a:srgbClr val="53555C"/>
                </a:solidFill>
                <a:latin typeface="Poppins Light" panose="02000000000000000000" pitchFamily="2" charset="0"/>
              </a:defRPr>
            </a:lvl1pPr>
            <a:lvl2pPr marL="365760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2pPr>
            <a:lvl3pPr marL="713232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3pPr>
            <a:lvl4pPr marL="1051560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4pPr>
            <a:lvl5pPr marL="1399032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0"/>
            <a:r>
              <a:rPr lang="en-US" dirty="0"/>
              <a:t>Item 2</a:t>
            </a:r>
          </a:p>
          <a:p>
            <a:pPr lvl="0"/>
            <a:r>
              <a:rPr lang="en-US" dirty="0"/>
              <a:t>Item 3</a:t>
            </a:r>
          </a:p>
          <a:p>
            <a:pPr lvl="0"/>
            <a:r>
              <a:rPr lang="en-US" dirty="0"/>
              <a:t>Item 4</a:t>
            </a:r>
          </a:p>
          <a:p>
            <a:pPr lvl="0"/>
            <a:r>
              <a:rPr lang="en-US" dirty="0"/>
              <a:t>Item 5</a:t>
            </a:r>
          </a:p>
          <a:p>
            <a:pPr lvl="0"/>
            <a:r>
              <a:rPr lang="en-US" dirty="0"/>
              <a:t>Item 6</a:t>
            </a:r>
          </a:p>
          <a:p>
            <a:pPr lvl="0"/>
            <a:r>
              <a:rPr lang="en-US" dirty="0"/>
              <a:t>Item 7</a:t>
            </a:r>
          </a:p>
        </p:txBody>
      </p:sp>
      <p:cxnSp>
        <p:nvCxnSpPr>
          <p:cNvPr id="9" name="Straight Connector 8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628650" y="688975"/>
            <a:ext cx="4867275" cy="55006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4800" dirty="0">
                <a:solidFill>
                  <a:srgbClr val="77BC1F"/>
                </a:solidFill>
                <a:latin typeface="Poppins Light" panose="02000000000000000000" pitchFamily="2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45785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714500"/>
            <a:ext cx="10987315" cy="390525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3200">
                <a:solidFill>
                  <a:srgbClr val="53555C"/>
                </a:solidFill>
                <a:latin typeface="Poppins Light" panose="02000000000000000000" pitchFamily="2" charset="0"/>
              </a:defRPr>
            </a:lvl1pPr>
            <a:lvl2pPr marL="365760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2pPr>
            <a:lvl3pPr marL="713232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3pPr>
            <a:lvl4pPr marL="1051560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4pPr>
            <a:lvl5pPr marL="1399032" indent="0">
              <a:buFont typeface="Arial" panose="020B0604020202020204" pitchFamily="34" charset="0"/>
              <a:buNone/>
              <a:defRPr sz="4000">
                <a:solidFill>
                  <a:srgbClr val="53555C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0"/>
            <a:r>
              <a:rPr lang="en-US" dirty="0"/>
              <a:t>Item 2</a:t>
            </a:r>
          </a:p>
          <a:p>
            <a:pPr lvl="0"/>
            <a:r>
              <a:rPr lang="en-US" dirty="0"/>
              <a:t>Item 3</a:t>
            </a:r>
          </a:p>
          <a:p>
            <a:pPr lvl="0"/>
            <a:r>
              <a:rPr lang="en-US" dirty="0"/>
              <a:t>Item 4</a:t>
            </a:r>
          </a:p>
          <a:p>
            <a:pPr lvl="0"/>
            <a:r>
              <a:rPr lang="en-US" dirty="0"/>
              <a:t>Item 5</a:t>
            </a:r>
          </a:p>
          <a:p>
            <a:pPr lvl="0"/>
            <a:r>
              <a:rPr lang="en-US" dirty="0"/>
              <a:t>Item 6</a:t>
            </a:r>
          </a:p>
          <a:p>
            <a:pPr lvl="0"/>
            <a:r>
              <a:rPr lang="en-US" dirty="0"/>
              <a:t>Item 7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28652" y="481161"/>
            <a:ext cx="4867275" cy="55006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77BC1F"/>
                </a:solidFill>
                <a:effectLst/>
                <a:uLnTx/>
                <a:uFillTx/>
                <a:latin typeface="Poppins Light" panose="02000000000000000000" pitchFamily="2" charset="0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961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ogram 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609598" y="592364"/>
            <a:ext cx="10987314" cy="79193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4800" dirty="0">
                <a:solidFill>
                  <a:srgbClr val="77BC1F"/>
                </a:solidFill>
                <a:latin typeface="Poppins Light" panose="02000000000000000000" pitchFamily="2" charset="0"/>
              </a:rPr>
              <a:t>Program History</a:t>
            </a:r>
          </a:p>
        </p:txBody>
      </p:sp>
    </p:spTree>
    <p:extLst>
      <p:ext uri="{BB962C8B-B14F-4D97-AF65-F5344CB8AC3E}">
        <p14:creationId xmlns:p14="http://schemas.microsoft.com/office/powerpoint/2010/main" val="349301889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lient Nee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 userDrawn="1"/>
        </p:nvSpPr>
        <p:spPr>
          <a:xfrm>
            <a:off x="609598" y="566964"/>
            <a:ext cx="10987314" cy="83003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4800" dirty="0">
                <a:solidFill>
                  <a:srgbClr val="77BC1F"/>
                </a:solidFill>
                <a:latin typeface="Poppins Light" panose="02000000000000000000" pitchFamily="2" charset="0"/>
              </a:rPr>
              <a:t>Client Needs</a:t>
            </a:r>
          </a:p>
        </p:txBody>
      </p:sp>
    </p:spTree>
    <p:extLst>
      <p:ext uri="{BB962C8B-B14F-4D97-AF65-F5344CB8AC3E}">
        <p14:creationId xmlns:p14="http://schemas.microsoft.com/office/powerpoint/2010/main" val="6655239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-P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Timeline Title</a:t>
            </a:r>
          </a:p>
        </p:txBody>
      </p:sp>
      <p:cxnSp>
        <p:nvCxnSpPr>
          <p:cNvPr id="36" name="Straight Connector 35"/>
          <p:cNvCxnSpPr>
            <a:cxnSpLocks/>
          </p:cNvCxnSpPr>
          <p:nvPr userDrawn="1"/>
        </p:nvCxnSpPr>
        <p:spPr>
          <a:xfrm>
            <a:off x="609600" y="5770539"/>
            <a:ext cx="11019967" cy="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 userDrawn="1"/>
        </p:nvSpPr>
        <p:spPr>
          <a:xfrm>
            <a:off x="7815274" y="4476690"/>
            <a:ext cx="5886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Poppins" panose="02000000000000000000" pitchFamily="2" charset="0"/>
              </a:rPr>
              <a:t>2018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787629" y="2885961"/>
            <a:ext cx="1819275" cy="421387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787629" y="3372206"/>
            <a:ext cx="1819275" cy="1152170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79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2990049" y="2046206"/>
            <a:ext cx="1819275" cy="430827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2</a:t>
            </a:r>
          </a:p>
        </p:txBody>
      </p:sp>
      <p:sp>
        <p:nvSpPr>
          <p:cNvPr id="80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2990049" y="2541891"/>
            <a:ext cx="1819275" cy="120246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81" name="Text Placeholder 75"/>
          <p:cNvSpPr>
            <a:spLocks noGrp="1"/>
          </p:cNvSpPr>
          <p:nvPr>
            <p:ph type="body" sz="quarter" idx="18" hasCustomPrompt="1"/>
          </p:nvPr>
        </p:nvSpPr>
        <p:spPr>
          <a:xfrm>
            <a:off x="5192469" y="2671688"/>
            <a:ext cx="1819275" cy="446872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979EA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3</a:t>
            </a:r>
          </a:p>
        </p:txBody>
      </p:sp>
      <p:sp>
        <p:nvSpPr>
          <p:cNvPr id="82" name="Text Placeholder 77"/>
          <p:cNvSpPr>
            <a:spLocks noGrp="1"/>
          </p:cNvSpPr>
          <p:nvPr>
            <p:ph type="body" sz="quarter" idx="19" hasCustomPrompt="1"/>
          </p:nvPr>
        </p:nvSpPr>
        <p:spPr>
          <a:xfrm>
            <a:off x="5192469" y="3183418"/>
            <a:ext cx="1819275" cy="122829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83" name="Text Placeholder 75"/>
          <p:cNvSpPr>
            <a:spLocks noGrp="1"/>
          </p:cNvSpPr>
          <p:nvPr>
            <p:ph type="body" sz="quarter" idx="20" hasCustomPrompt="1"/>
          </p:nvPr>
        </p:nvSpPr>
        <p:spPr>
          <a:xfrm>
            <a:off x="7402795" y="2025690"/>
            <a:ext cx="1819275" cy="446872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FFCF0B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4</a:t>
            </a:r>
          </a:p>
        </p:txBody>
      </p:sp>
      <p:sp>
        <p:nvSpPr>
          <p:cNvPr id="84" name="Text Placeholder 77"/>
          <p:cNvSpPr>
            <a:spLocks noGrp="1"/>
          </p:cNvSpPr>
          <p:nvPr>
            <p:ph type="body" sz="quarter" idx="21" hasCustomPrompt="1"/>
          </p:nvPr>
        </p:nvSpPr>
        <p:spPr>
          <a:xfrm>
            <a:off x="7402795" y="2537420"/>
            <a:ext cx="1819275" cy="122829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  <p:sp>
        <p:nvSpPr>
          <p:cNvPr id="85" name="Text Placeholder 75"/>
          <p:cNvSpPr>
            <a:spLocks noGrp="1"/>
          </p:cNvSpPr>
          <p:nvPr>
            <p:ph type="body" sz="quarter" idx="22" hasCustomPrompt="1"/>
          </p:nvPr>
        </p:nvSpPr>
        <p:spPr>
          <a:xfrm>
            <a:off x="9596694" y="2688660"/>
            <a:ext cx="1819275" cy="446872"/>
          </a:xfrm>
        </p:spPr>
        <p:txBody>
          <a:bodyPr anchor="b" anchorCtr="0"/>
          <a:lstStyle>
            <a:lvl1pPr marL="0" indent="0" algn="ctr">
              <a:buNone/>
              <a:defRPr sz="15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5</a:t>
            </a:r>
          </a:p>
        </p:txBody>
      </p:sp>
      <p:sp>
        <p:nvSpPr>
          <p:cNvPr id="86" name="Text Placeholder 77"/>
          <p:cNvSpPr>
            <a:spLocks noGrp="1"/>
          </p:cNvSpPr>
          <p:nvPr>
            <p:ph type="body" sz="quarter" idx="23" hasCustomPrompt="1"/>
          </p:nvPr>
        </p:nvSpPr>
        <p:spPr>
          <a:xfrm>
            <a:off x="9596694" y="3200390"/>
            <a:ext cx="1819275" cy="1228298"/>
          </a:xfrm>
        </p:spPr>
        <p:txBody>
          <a:bodyPr/>
          <a:lstStyle>
            <a:lvl1pPr marL="0" indent="0" algn="ctr">
              <a:spcAft>
                <a:spcPts val="400"/>
              </a:spcAft>
              <a:buNone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Use this space to describe timeline content</a:t>
            </a:r>
          </a:p>
        </p:txBody>
      </p:sp>
    </p:spTree>
    <p:extLst>
      <p:ext uri="{BB962C8B-B14F-4D97-AF65-F5344CB8AC3E}">
        <p14:creationId xmlns:p14="http://schemas.microsoft.com/office/powerpoint/2010/main" val="216272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</p:bld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-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Timeline Title</a:t>
            </a:r>
          </a:p>
        </p:txBody>
      </p:sp>
      <p:cxnSp>
        <p:nvCxnSpPr>
          <p:cNvPr id="36" name="Straight Connector 35"/>
          <p:cNvCxnSpPr>
            <a:cxnSpLocks/>
          </p:cNvCxnSpPr>
          <p:nvPr userDrawn="1"/>
        </p:nvCxnSpPr>
        <p:spPr>
          <a:xfrm>
            <a:off x="609600" y="5770539"/>
            <a:ext cx="11019967" cy="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 userDrawn="1"/>
        </p:nvSpPr>
        <p:spPr>
          <a:xfrm>
            <a:off x="7815274" y="4476690"/>
            <a:ext cx="5886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Poppins" panose="02000000000000000000" pitchFamily="2" charset="0"/>
              </a:rPr>
              <a:t>2018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994056" y="2885961"/>
            <a:ext cx="1536648" cy="42138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994055" y="3372206"/>
            <a:ext cx="1650955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79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3264131" y="2036374"/>
            <a:ext cx="1488043" cy="430827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2</a:t>
            </a:r>
          </a:p>
        </p:txBody>
      </p:sp>
      <p:sp>
        <p:nvSpPr>
          <p:cNvPr id="81" name="Text Placeholder 75"/>
          <p:cNvSpPr>
            <a:spLocks noGrp="1"/>
          </p:cNvSpPr>
          <p:nvPr>
            <p:ph type="body" sz="quarter" idx="18" hasCustomPrompt="1"/>
          </p:nvPr>
        </p:nvSpPr>
        <p:spPr>
          <a:xfrm>
            <a:off x="5440004" y="2701184"/>
            <a:ext cx="1476183" cy="44687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979EA1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3</a:t>
            </a:r>
          </a:p>
        </p:txBody>
      </p:sp>
      <p:sp>
        <p:nvSpPr>
          <p:cNvPr id="83" name="Text Placeholder 75"/>
          <p:cNvSpPr>
            <a:spLocks noGrp="1"/>
          </p:cNvSpPr>
          <p:nvPr>
            <p:ph type="body" sz="quarter" idx="20" hasCustomPrompt="1"/>
          </p:nvPr>
        </p:nvSpPr>
        <p:spPr>
          <a:xfrm>
            <a:off x="7641368" y="2055493"/>
            <a:ext cx="1406796" cy="44687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FFCF0B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4</a:t>
            </a:r>
          </a:p>
        </p:txBody>
      </p:sp>
      <p:sp>
        <p:nvSpPr>
          <p:cNvPr id="85" name="Text Placeholder 75"/>
          <p:cNvSpPr>
            <a:spLocks noGrp="1"/>
          </p:cNvSpPr>
          <p:nvPr>
            <p:ph type="body" sz="quarter" idx="22" hasCustomPrompt="1"/>
          </p:nvPr>
        </p:nvSpPr>
        <p:spPr>
          <a:xfrm>
            <a:off x="9824269" y="2707710"/>
            <a:ext cx="1534550" cy="446872"/>
          </a:xfrm>
        </p:spPr>
        <p:txBody>
          <a:bodyPr anchor="b" anchorCtr="0"/>
          <a:lstStyle>
            <a:lvl1pPr marL="0" indent="0" algn="l">
              <a:buNone/>
              <a:defRPr sz="15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</a:t>
            </a:r>
            <a:br>
              <a:rPr lang="en-US" dirty="0"/>
            </a:br>
            <a:r>
              <a:rPr lang="en-US" dirty="0"/>
              <a:t>Header 5</a:t>
            </a:r>
          </a:p>
        </p:txBody>
      </p:sp>
      <p:sp>
        <p:nvSpPr>
          <p:cNvPr id="57" name="Text Placeholder 77"/>
          <p:cNvSpPr>
            <a:spLocks noGrp="1"/>
          </p:cNvSpPr>
          <p:nvPr>
            <p:ph type="body" sz="quarter" idx="24" hasCustomPrompt="1"/>
          </p:nvPr>
        </p:nvSpPr>
        <p:spPr>
          <a:xfrm>
            <a:off x="3272329" y="2521876"/>
            <a:ext cx="1531116" cy="1212649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58" name="Text Placeholder 77"/>
          <p:cNvSpPr>
            <a:spLocks noGrp="1"/>
          </p:cNvSpPr>
          <p:nvPr>
            <p:ph type="body" sz="quarter" idx="25" hasCustomPrompt="1"/>
          </p:nvPr>
        </p:nvSpPr>
        <p:spPr>
          <a:xfrm>
            <a:off x="5440003" y="3209315"/>
            <a:ext cx="1617359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59" name="Text Placeholder 77"/>
          <p:cNvSpPr>
            <a:spLocks noGrp="1"/>
          </p:cNvSpPr>
          <p:nvPr>
            <p:ph type="body" sz="quarter" idx="26" hasCustomPrompt="1"/>
          </p:nvPr>
        </p:nvSpPr>
        <p:spPr>
          <a:xfrm>
            <a:off x="7648015" y="2563866"/>
            <a:ext cx="1615611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60" name="Text Placeholder 77"/>
          <p:cNvSpPr>
            <a:spLocks noGrp="1"/>
          </p:cNvSpPr>
          <p:nvPr>
            <p:ph type="body" sz="quarter" idx="27" hasCustomPrompt="1"/>
          </p:nvPr>
        </p:nvSpPr>
        <p:spPr>
          <a:xfrm>
            <a:off x="9824268" y="3214876"/>
            <a:ext cx="1627674" cy="1152170"/>
          </a:xfrm>
        </p:spPr>
        <p:txBody>
          <a:bodyPr/>
          <a:lstStyle>
            <a:lvl1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  <a:defRPr sz="13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958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</p:bld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-Breakou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96795"/>
            <a:ext cx="10987088" cy="800205"/>
          </a:xfrm>
        </p:spPr>
        <p:txBody>
          <a:bodyPr anchor="ctr" anchorCtr="0"/>
          <a:lstStyle>
            <a:lvl1pPr marL="0" indent="0">
              <a:buNone/>
              <a:defRPr sz="4800">
                <a:solidFill>
                  <a:srgbClr val="77BC1F"/>
                </a:solidFill>
                <a:latin typeface="Poppins Light" panose="02000000000000000000" pitchFamily="2" charset="0"/>
              </a:defRPr>
            </a:lvl1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Insert History/Timeline Title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68982" y="2547110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77BC1F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68982" y="3224113"/>
            <a:ext cx="3615081" cy="1823375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 userDrawn="1"/>
        </p:nvCxnSpPr>
        <p:spPr>
          <a:xfrm>
            <a:off x="6029992" y="1828800"/>
            <a:ext cx="17240" cy="5029200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Oval 105"/>
          <p:cNvSpPr/>
          <p:nvPr userDrawn="1"/>
        </p:nvSpPr>
        <p:spPr>
          <a:xfrm>
            <a:off x="5769230" y="1825617"/>
            <a:ext cx="506413" cy="506413"/>
          </a:xfrm>
          <a:prstGeom prst="ellipse">
            <a:avLst/>
          </a:prstGeom>
          <a:solidFill>
            <a:srgbClr val="53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Poppins" panose="02000000000000000000" pitchFamily="2" charset="0"/>
            </a:endParaRPr>
          </a:p>
        </p:txBody>
      </p:sp>
      <p:sp>
        <p:nvSpPr>
          <p:cNvPr id="53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7018983" y="3831336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54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7018983" y="4508339"/>
            <a:ext cx="3615081" cy="1441357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831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meline-Breakou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75"/>
          <p:cNvSpPr>
            <a:spLocks noGrp="1"/>
          </p:cNvSpPr>
          <p:nvPr>
            <p:ph type="body" sz="quarter" idx="14" hasCustomPrompt="1"/>
          </p:nvPr>
        </p:nvSpPr>
        <p:spPr>
          <a:xfrm>
            <a:off x="1468982" y="949958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53555C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78" name="Text Placeholder 77"/>
          <p:cNvSpPr>
            <a:spLocks noGrp="1"/>
          </p:cNvSpPr>
          <p:nvPr>
            <p:ph type="body" sz="quarter" idx="15" hasCustomPrompt="1"/>
          </p:nvPr>
        </p:nvSpPr>
        <p:spPr>
          <a:xfrm>
            <a:off x="1468982" y="1626961"/>
            <a:ext cx="3615081" cy="1823375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cxnSp>
        <p:nvCxnSpPr>
          <p:cNvPr id="71" name="Straight Connector 70"/>
          <p:cNvCxnSpPr>
            <a:cxnSpLocks/>
          </p:cNvCxnSpPr>
          <p:nvPr userDrawn="1"/>
        </p:nvCxnSpPr>
        <p:spPr>
          <a:xfrm>
            <a:off x="6023723" y="0"/>
            <a:ext cx="18347" cy="5352288"/>
          </a:xfrm>
          <a:prstGeom prst="line">
            <a:avLst/>
          </a:prstGeom>
          <a:ln w="19050">
            <a:solidFill>
              <a:srgbClr val="53555C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75"/>
          <p:cNvSpPr>
            <a:spLocks noGrp="1"/>
          </p:cNvSpPr>
          <p:nvPr>
            <p:ph type="body" sz="quarter" idx="16" hasCustomPrompt="1"/>
          </p:nvPr>
        </p:nvSpPr>
        <p:spPr>
          <a:xfrm>
            <a:off x="7018983" y="2673096"/>
            <a:ext cx="3615082" cy="586234"/>
          </a:xfrm>
        </p:spPr>
        <p:txBody>
          <a:bodyPr anchor="b" anchorCtr="0"/>
          <a:lstStyle>
            <a:lvl1pPr marL="0" indent="0" algn="l">
              <a:buNone/>
              <a:defRPr sz="1800" b="1">
                <a:solidFill>
                  <a:srgbClr val="00B5E2"/>
                </a:solidFill>
                <a:latin typeface="Poppins" panose="02000000000000000000" pitchFamily="2" charset="0"/>
              </a:defRPr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/>
              <a:t>Timeline Header 1</a:t>
            </a:r>
          </a:p>
        </p:txBody>
      </p:sp>
      <p:sp>
        <p:nvSpPr>
          <p:cNvPr id="54" name="Text Placeholder 77"/>
          <p:cNvSpPr>
            <a:spLocks noGrp="1"/>
          </p:cNvSpPr>
          <p:nvPr>
            <p:ph type="body" sz="quarter" idx="17" hasCustomPrompt="1"/>
          </p:nvPr>
        </p:nvSpPr>
        <p:spPr>
          <a:xfrm>
            <a:off x="7018983" y="3350099"/>
            <a:ext cx="3615081" cy="1819309"/>
          </a:xfrm>
        </p:spPr>
        <p:txBody>
          <a:bodyPr/>
          <a:lstStyle>
            <a:lvl1pPr marL="171450" indent="-171450" algn="l">
              <a:spcAft>
                <a:spcPts val="400"/>
              </a:spcAft>
              <a:buFont typeface="Arial" panose="020B0604020202020204" pitchFamily="34" charset="0"/>
              <a:buChar char="•"/>
              <a:defRPr sz="1600">
                <a:latin typeface="Poppins" panose="02000000000000000000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Bullet 1</a:t>
            </a:r>
          </a:p>
          <a:p>
            <a:pPr lvl="0"/>
            <a:r>
              <a:rPr lang="en-US" dirty="0"/>
              <a:t>Bullet 2</a:t>
            </a:r>
          </a:p>
          <a:p>
            <a:pPr lvl="0"/>
            <a:r>
              <a:rPr lang="en-US" dirty="0"/>
              <a:t>Bullet 3</a:t>
            </a:r>
          </a:p>
          <a:p>
            <a:pPr lvl="0"/>
            <a:r>
              <a:rPr lang="en-US" dirty="0"/>
              <a:t>Bullet 4</a:t>
            </a:r>
          </a:p>
          <a:p>
            <a:pPr lvl="0"/>
            <a:endParaRPr lang="en-US" dirty="0"/>
          </a:p>
        </p:txBody>
      </p:sp>
      <p:sp>
        <p:nvSpPr>
          <p:cNvPr id="17" name="Oval 16"/>
          <p:cNvSpPr/>
          <p:nvPr userDrawn="1"/>
        </p:nvSpPr>
        <p:spPr>
          <a:xfrm>
            <a:off x="5794518" y="5352288"/>
            <a:ext cx="506413" cy="506413"/>
          </a:xfrm>
          <a:prstGeom prst="ellipse">
            <a:avLst/>
          </a:prstGeom>
          <a:solidFill>
            <a:srgbClr val="5355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Poppi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5053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/>
          <p:cNvCxnSpPr>
            <a:cxnSpLocks/>
          </p:cNvCxnSpPr>
          <p:nvPr userDrawn="1"/>
        </p:nvCxnSpPr>
        <p:spPr>
          <a:xfrm>
            <a:off x="609600" y="1449614"/>
            <a:ext cx="10987314" cy="0"/>
          </a:xfrm>
          <a:prstGeom prst="line">
            <a:avLst/>
          </a:prstGeom>
          <a:ln w="762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cxnSpLocks/>
          </p:cNvCxnSpPr>
          <p:nvPr userDrawn="1"/>
        </p:nvCxnSpPr>
        <p:spPr>
          <a:xfrm>
            <a:off x="609600" y="554264"/>
            <a:ext cx="10987314" cy="0"/>
          </a:xfrm>
          <a:prstGeom prst="line">
            <a:avLst/>
          </a:prstGeom>
          <a:ln w="12700">
            <a:solidFill>
              <a:srgbClr val="979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5654398" y="2626511"/>
            <a:ext cx="4466753" cy="52590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Name</a:t>
            </a:r>
          </a:p>
        </p:txBody>
      </p:sp>
      <p:sp>
        <p:nvSpPr>
          <p:cNvPr id="47" name="Text Placeholder 22"/>
          <p:cNvSpPr>
            <a:spLocks noGrp="1"/>
          </p:cNvSpPr>
          <p:nvPr>
            <p:ph type="body" sz="quarter" idx="26" hasCustomPrompt="1"/>
          </p:nvPr>
        </p:nvSpPr>
        <p:spPr>
          <a:xfrm>
            <a:off x="5654399" y="3226724"/>
            <a:ext cx="4466754" cy="172122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ntac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endParaRPr lang="en-US" dirty="0"/>
          </a:p>
        </p:txBody>
      </p:sp>
      <p:sp>
        <p:nvSpPr>
          <p:cNvPr id="61" name="TextBox 60"/>
          <p:cNvSpPr txBox="1"/>
          <p:nvPr userDrawn="1"/>
        </p:nvSpPr>
        <p:spPr>
          <a:xfrm>
            <a:off x="609598" y="554264"/>
            <a:ext cx="10987314" cy="865868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en-US" sz="5200" dirty="0">
                <a:solidFill>
                  <a:srgbClr val="77BC1F"/>
                </a:solidFill>
                <a:latin typeface="Poppins Light" panose="02000000000000000000" pitchFamily="2" charset="0"/>
              </a:rPr>
              <a:t>References</a:t>
            </a:r>
          </a:p>
        </p:txBody>
      </p:sp>
      <p:cxnSp>
        <p:nvCxnSpPr>
          <p:cNvPr id="29" name="Straight Connector 28"/>
          <p:cNvCxnSpPr>
            <a:cxnSpLocks/>
          </p:cNvCxnSpPr>
          <p:nvPr userDrawn="1"/>
        </p:nvCxnSpPr>
        <p:spPr>
          <a:xfrm>
            <a:off x="5647764" y="2492188"/>
            <a:ext cx="4473387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609598" y="2626511"/>
            <a:ext cx="4466753" cy="525904"/>
          </a:xfr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rgbClr val="006647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Name</a:t>
            </a:r>
          </a:p>
        </p:txBody>
      </p:sp>
      <p:sp>
        <p:nvSpPr>
          <p:cNvPr id="32" name="Text Placeholder 22"/>
          <p:cNvSpPr>
            <a:spLocks noGrp="1"/>
          </p:cNvSpPr>
          <p:nvPr>
            <p:ph type="body" sz="quarter" idx="28" hasCustomPrompt="1"/>
          </p:nvPr>
        </p:nvSpPr>
        <p:spPr>
          <a:xfrm>
            <a:off x="609599" y="3226724"/>
            <a:ext cx="4466754" cy="1721224"/>
          </a:xfr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53555C"/>
                </a:solidFill>
                <a:latin typeface="Poppins" panose="02000000000000000000" pitchFamily="2" charset="0"/>
              </a:defRPr>
            </a:lvl1pPr>
          </a:lstStyle>
          <a:p>
            <a:pPr lvl="0"/>
            <a:r>
              <a:rPr lang="en-US" dirty="0"/>
              <a:t>Contact Name</a:t>
            </a:r>
          </a:p>
          <a:p>
            <a:pPr lvl="0"/>
            <a:r>
              <a:rPr lang="en-US" dirty="0"/>
              <a:t>Title</a:t>
            </a:r>
          </a:p>
          <a:p>
            <a:pPr lvl="0"/>
            <a:r>
              <a:rPr lang="en-US" dirty="0"/>
              <a:t>Email address</a:t>
            </a:r>
            <a:br>
              <a:rPr lang="en-US" dirty="0"/>
            </a:br>
            <a:r>
              <a:rPr lang="en-US" dirty="0"/>
              <a:t>Phone #1</a:t>
            </a:r>
          </a:p>
          <a:p>
            <a:pPr lvl="0"/>
            <a:endParaRPr lang="en-US" dirty="0"/>
          </a:p>
        </p:txBody>
      </p:sp>
      <p:cxnSp>
        <p:nvCxnSpPr>
          <p:cNvPr id="33" name="Straight Connector 32"/>
          <p:cNvCxnSpPr>
            <a:cxnSpLocks/>
          </p:cNvCxnSpPr>
          <p:nvPr userDrawn="1"/>
        </p:nvCxnSpPr>
        <p:spPr>
          <a:xfrm>
            <a:off x="602964" y="2492188"/>
            <a:ext cx="4473387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29721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 Green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Poppins" panose="02000000000000000000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701" y="6349759"/>
            <a:ext cx="2053767" cy="315020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11268075" y="6298293"/>
            <a:ext cx="0" cy="365125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3"/>
          <p:cNvSpPr txBox="1">
            <a:spLocks/>
          </p:cNvSpPr>
          <p:nvPr userDrawn="1"/>
        </p:nvSpPr>
        <p:spPr>
          <a:xfrm>
            <a:off x="11273063" y="6349759"/>
            <a:ext cx="323849" cy="29143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A32E3B9-EECE-4A89-A6AF-ECDA09B9D2C5}" type="slidenum">
              <a:rPr lang="en-US" smtClean="0">
                <a:solidFill>
                  <a:schemeClr val="bg1"/>
                </a:solidFill>
                <a:latin typeface="Poppins" panose="02000000000000000000" pitchFamily="2" charset="0"/>
              </a:rPr>
              <a:pPr/>
              <a:t>‹#›</a:t>
            </a:fld>
            <a:endParaRPr lang="en-US" dirty="0">
              <a:solidFill>
                <a:schemeClr val="bg1"/>
              </a:solidFill>
              <a:latin typeface="Poppi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97614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-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9628" cy="685799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6105832" y="1189972"/>
            <a:ext cx="5806420" cy="517960"/>
          </a:xfrm>
        </p:spPr>
        <p:txBody>
          <a:bodyPr lIns="0" tIns="0" rIns="0" bIns="0" anchor="b">
            <a:noAutofit/>
          </a:bodyPr>
          <a:lstStyle>
            <a:lvl1pPr algn="r">
              <a:defRPr sz="4000">
                <a:solidFill>
                  <a:srgbClr val="77BC1F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705600" y="1790662"/>
            <a:ext cx="5206652" cy="952538"/>
          </a:xfrm>
        </p:spPr>
        <p:txBody>
          <a:bodyPr lIns="0" tIns="0" rIns="0" bIns="0">
            <a:noAutofit/>
          </a:bodyPr>
          <a:lstStyle>
            <a:lvl1pPr marL="0" indent="0" algn="r">
              <a:buNone/>
              <a:defRPr sz="2400">
                <a:solidFill>
                  <a:srgbClr val="53555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9392" y="277766"/>
            <a:ext cx="3782860" cy="580239"/>
          </a:xfrm>
          <a:prstGeom prst="rect">
            <a:avLst/>
          </a:prstGeom>
        </p:spPr>
      </p:pic>
      <p:cxnSp>
        <p:nvCxnSpPr>
          <p:cNvPr id="13" name="Straight Connector 12"/>
          <p:cNvCxnSpPr>
            <a:cxnSpLocks/>
          </p:cNvCxnSpPr>
          <p:nvPr userDrawn="1"/>
        </p:nvCxnSpPr>
        <p:spPr>
          <a:xfrm flipH="1">
            <a:off x="6105832" y="1002082"/>
            <a:ext cx="5806420" cy="808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9867552" y="5454540"/>
            <a:ext cx="2044700" cy="400050"/>
          </a:xfrm>
        </p:spPr>
        <p:txBody>
          <a:bodyPr anchor="ctr" anchorCtr="0"/>
          <a:lstStyle>
            <a:lvl1pPr marL="0" indent="0" algn="r">
              <a:buNone/>
              <a:defRPr sz="1800">
                <a:solidFill>
                  <a:srgbClr val="53555C"/>
                </a:solidFill>
              </a:defRPr>
            </a:lvl1pPr>
            <a:lvl2pPr algn="r">
              <a:defRPr sz="2200"/>
            </a:lvl2pPr>
            <a:lvl3pPr algn="r">
              <a:defRPr sz="2200"/>
            </a:lvl3pPr>
            <a:lvl4pPr algn="r">
              <a:defRPr sz="2200"/>
            </a:lvl4pPr>
            <a:lvl5pPr algn="r">
              <a:defRPr sz="2200"/>
            </a:lvl5pPr>
          </a:lstStyle>
          <a:p>
            <a:pPr lvl="0"/>
            <a:r>
              <a:rPr lang="en-US" dirty="0"/>
              <a:t>Insert Date</a:t>
            </a:r>
          </a:p>
        </p:txBody>
      </p:sp>
    </p:spTree>
    <p:extLst>
      <p:ext uri="{BB962C8B-B14F-4D97-AF65-F5344CB8AC3E}">
        <p14:creationId xmlns:p14="http://schemas.microsoft.com/office/powerpoint/2010/main" val="279381033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AD2D6-40F9-4E63-8398-E1A9373CB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5A4BF4-F175-4744-9319-B969DD862D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19EF1E-0D3C-48FA-B507-12D8B8A8D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8DC3A5-4AB6-4515-9429-F6EF8F4B7427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DFF0FE-7C5C-4599-B285-E00F0E7C5C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2052B4-0002-4D4D-A7A7-32FA8505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5EE3D-B3BD-4B3E-9994-E90A5A8C46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6133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07" Type="http://schemas.openxmlformats.org/officeDocument/2006/relationships/theme" Target="../theme/theme1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103" Type="http://schemas.openxmlformats.org/officeDocument/2006/relationships/slideLayout" Target="../slideLayouts/slideLayout103.xml"/><Relationship Id="rId108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26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21.xml"/><Relationship Id="rId21" Type="http://schemas.openxmlformats.org/officeDocument/2006/relationships/slideLayout" Target="../slideLayouts/slideLayout139.xml"/><Relationship Id="rId34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slideLayout" Target="../slideLayouts/slideLayout143.xml"/><Relationship Id="rId33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slideLayout" Target="../slideLayouts/slideLayout138.xml"/><Relationship Id="rId29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slideLayout" Target="../slideLayouts/slideLayout142.xml"/><Relationship Id="rId32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slideLayout" Target="../slideLayouts/slideLayout146.xml"/><Relationship Id="rId36" Type="http://schemas.openxmlformats.org/officeDocument/2006/relationships/image" Target="../media/image55.png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31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5.xml"/><Relationship Id="rId30" Type="http://schemas.openxmlformats.org/officeDocument/2006/relationships/slideLayout" Target="../slideLayouts/slideLayout148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3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image" Target="../media/image76.png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3" y="483346"/>
            <a:ext cx="10987312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917679"/>
            <a:ext cx="10987315" cy="40624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3C957E7-3229-42FB-946E-93E60831604C}"/>
              </a:ext>
            </a:extLst>
          </p:cNvPr>
          <p:cNvCxnSpPr/>
          <p:nvPr userDrawn="1"/>
        </p:nvCxnSpPr>
        <p:spPr>
          <a:xfrm>
            <a:off x="11268075" y="6298298"/>
            <a:ext cx="0" cy="365125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856721BA-30BF-44C2-B49C-30C81F6E062E}"/>
              </a:ext>
            </a:extLst>
          </p:cNvPr>
          <p:cNvSpPr txBox="1">
            <a:spLocks/>
          </p:cNvSpPr>
          <p:nvPr userDrawn="1"/>
        </p:nvSpPr>
        <p:spPr>
          <a:xfrm>
            <a:off x="11273066" y="6349759"/>
            <a:ext cx="323849" cy="29143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32E3B9-EECE-4A89-A6AF-ECDA09B9D2C5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979EA1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979EA1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F38FCD7-BAEA-4F53-BE44-EB6290155725}"/>
              </a:ext>
            </a:extLst>
          </p:cNvPr>
          <p:cNvPicPr>
            <a:picLocks noChangeAspect="1"/>
          </p:cNvPicPr>
          <p:nvPr userDrawn="1"/>
        </p:nvPicPr>
        <p:blipFill>
          <a:blip r:embed="rId10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437" y="6389514"/>
            <a:ext cx="2034020" cy="15260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2924399-04D2-4D8B-9921-1033E09BE1CD}"/>
              </a:ext>
            </a:extLst>
          </p:cNvPr>
          <p:cNvSpPr/>
          <p:nvPr userDrawn="1"/>
        </p:nvSpPr>
        <p:spPr>
          <a:xfrm>
            <a:off x="0" y="6789701"/>
            <a:ext cx="12192000" cy="9144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223F9A7-EA08-40B7-9D53-9DB5FF5B7B42}"/>
              </a:ext>
            </a:extLst>
          </p:cNvPr>
          <p:cNvCxnSpPr/>
          <p:nvPr userDrawn="1"/>
        </p:nvCxnSpPr>
        <p:spPr>
          <a:xfrm>
            <a:off x="609601" y="1058194"/>
            <a:ext cx="10987314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529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  <p:sldLayoutId id="2147484060" r:id="rId12"/>
    <p:sldLayoutId id="2147484061" r:id="rId13"/>
    <p:sldLayoutId id="2147484062" r:id="rId14"/>
    <p:sldLayoutId id="2147484063" r:id="rId15"/>
    <p:sldLayoutId id="2147484064" r:id="rId16"/>
    <p:sldLayoutId id="2147484065" r:id="rId17"/>
    <p:sldLayoutId id="2147484066" r:id="rId18"/>
    <p:sldLayoutId id="2147484067" r:id="rId19"/>
    <p:sldLayoutId id="2147484068" r:id="rId20"/>
    <p:sldLayoutId id="2147484069" r:id="rId21"/>
    <p:sldLayoutId id="2147484070" r:id="rId22"/>
    <p:sldLayoutId id="2147484071" r:id="rId23"/>
    <p:sldLayoutId id="2147484072" r:id="rId24"/>
    <p:sldLayoutId id="2147484073" r:id="rId25"/>
    <p:sldLayoutId id="2147484074" r:id="rId26"/>
    <p:sldLayoutId id="2147484075" r:id="rId27"/>
    <p:sldLayoutId id="2147484076" r:id="rId28"/>
    <p:sldLayoutId id="2147484077" r:id="rId29"/>
    <p:sldLayoutId id="2147484078" r:id="rId30"/>
    <p:sldLayoutId id="2147484079" r:id="rId31"/>
    <p:sldLayoutId id="2147484080" r:id="rId32"/>
    <p:sldLayoutId id="2147484081" r:id="rId33"/>
    <p:sldLayoutId id="2147484082" r:id="rId34"/>
    <p:sldLayoutId id="2147484083" r:id="rId35"/>
    <p:sldLayoutId id="2147484084" r:id="rId36"/>
    <p:sldLayoutId id="2147484085" r:id="rId37"/>
    <p:sldLayoutId id="2147484086" r:id="rId38"/>
    <p:sldLayoutId id="2147484087" r:id="rId39"/>
    <p:sldLayoutId id="2147484088" r:id="rId40"/>
    <p:sldLayoutId id="2147484089" r:id="rId41"/>
    <p:sldLayoutId id="2147484090" r:id="rId42"/>
    <p:sldLayoutId id="2147484091" r:id="rId43"/>
    <p:sldLayoutId id="2147484092" r:id="rId44"/>
    <p:sldLayoutId id="2147484093" r:id="rId45"/>
    <p:sldLayoutId id="2147484094" r:id="rId46"/>
    <p:sldLayoutId id="2147484095" r:id="rId47"/>
    <p:sldLayoutId id="2147484096" r:id="rId48"/>
    <p:sldLayoutId id="2147484097" r:id="rId49"/>
    <p:sldLayoutId id="2147484098" r:id="rId50"/>
    <p:sldLayoutId id="2147484099" r:id="rId51"/>
    <p:sldLayoutId id="2147484100" r:id="rId52"/>
    <p:sldLayoutId id="2147484101" r:id="rId53"/>
    <p:sldLayoutId id="2147484102" r:id="rId54"/>
    <p:sldLayoutId id="2147484103" r:id="rId55"/>
    <p:sldLayoutId id="2147484104" r:id="rId56"/>
    <p:sldLayoutId id="2147484105" r:id="rId57"/>
    <p:sldLayoutId id="2147484106" r:id="rId58"/>
    <p:sldLayoutId id="2147484107" r:id="rId59"/>
    <p:sldLayoutId id="2147484108" r:id="rId60"/>
    <p:sldLayoutId id="2147484109" r:id="rId61"/>
    <p:sldLayoutId id="2147484110" r:id="rId62"/>
    <p:sldLayoutId id="2147484111" r:id="rId63"/>
    <p:sldLayoutId id="2147484112" r:id="rId64"/>
    <p:sldLayoutId id="2147484113" r:id="rId65"/>
    <p:sldLayoutId id="2147484114" r:id="rId66"/>
    <p:sldLayoutId id="2147484115" r:id="rId67"/>
    <p:sldLayoutId id="2147484116" r:id="rId68"/>
    <p:sldLayoutId id="2147484117" r:id="rId69"/>
    <p:sldLayoutId id="2147484118" r:id="rId70"/>
    <p:sldLayoutId id="2147484119" r:id="rId71"/>
    <p:sldLayoutId id="2147484120" r:id="rId72"/>
    <p:sldLayoutId id="2147484121" r:id="rId73"/>
    <p:sldLayoutId id="2147484122" r:id="rId74"/>
    <p:sldLayoutId id="2147484123" r:id="rId75"/>
    <p:sldLayoutId id="2147484124" r:id="rId76"/>
    <p:sldLayoutId id="2147484125" r:id="rId77"/>
    <p:sldLayoutId id="2147484126" r:id="rId78"/>
    <p:sldLayoutId id="2147484127" r:id="rId79"/>
    <p:sldLayoutId id="2147484128" r:id="rId80"/>
    <p:sldLayoutId id="2147484129" r:id="rId81"/>
    <p:sldLayoutId id="2147484130" r:id="rId82"/>
    <p:sldLayoutId id="2147484131" r:id="rId83"/>
    <p:sldLayoutId id="2147484132" r:id="rId84"/>
    <p:sldLayoutId id="2147484133" r:id="rId85"/>
    <p:sldLayoutId id="2147484134" r:id="rId86"/>
    <p:sldLayoutId id="2147484135" r:id="rId87"/>
    <p:sldLayoutId id="2147484136" r:id="rId88"/>
    <p:sldLayoutId id="2147484137" r:id="rId89"/>
    <p:sldLayoutId id="2147484138" r:id="rId90"/>
    <p:sldLayoutId id="2147484139" r:id="rId91"/>
    <p:sldLayoutId id="2147484140" r:id="rId92"/>
    <p:sldLayoutId id="2147484141" r:id="rId93"/>
    <p:sldLayoutId id="2147484142" r:id="rId94"/>
    <p:sldLayoutId id="2147484143" r:id="rId95"/>
    <p:sldLayoutId id="2147484144" r:id="rId96"/>
    <p:sldLayoutId id="2147484145" r:id="rId97"/>
    <p:sldLayoutId id="2147484146" r:id="rId98"/>
    <p:sldLayoutId id="2147484147" r:id="rId99"/>
    <p:sldLayoutId id="2147484150" r:id="rId100"/>
    <p:sldLayoutId id="2147483976" r:id="rId101"/>
    <p:sldLayoutId id="2147483989" r:id="rId102"/>
    <p:sldLayoutId id="2147484047" r:id="rId103"/>
    <p:sldLayoutId id="2147483974" r:id="rId104"/>
    <p:sldLayoutId id="2147484045" r:id="rId105"/>
    <p:sldLayoutId id="2147484046" r:id="rId106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000" kern="1200">
          <a:solidFill>
            <a:srgbClr val="77BC1F"/>
          </a:solidFill>
          <a:latin typeface="Poppins Light" panose="020000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2800" kern="1200">
          <a:solidFill>
            <a:srgbClr val="53555C"/>
          </a:solidFill>
          <a:latin typeface="Poppins" panose="020000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2400" kern="1200">
          <a:solidFill>
            <a:srgbClr val="53555C"/>
          </a:solidFill>
          <a:latin typeface="Poppins" panose="020000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rgbClr val="53555C"/>
          </a:solidFill>
          <a:latin typeface="Poppins" panose="020000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53555C"/>
          </a:solidFill>
          <a:latin typeface="Poppins" panose="020000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53555C"/>
          </a:solidFill>
          <a:latin typeface="Poppins" panose="020000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75903E-482C-4253-9799-AA7C98508074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677406-D7E0-4DA2-AC81-AADCE80034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1591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66" r:id="rId2"/>
    <p:sldLayoutId id="2147484167" r:id="rId3"/>
    <p:sldLayoutId id="2147484168" r:id="rId4"/>
    <p:sldLayoutId id="2147484169" r:id="rId5"/>
    <p:sldLayoutId id="2147484170" r:id="rId6"/>
    <p:sldLayoutId id="2147484171" r:id="rId7"/>
    <p:sldLayoutId id="2147484172" r:id="rId8"/>
    <p:sldLayoutId id="2147484173" r:id="rId9"/>
    <p:sldLayoutId id="2147484174" r:id="rId10"/>
    <p:sldLayoutId id="2147484175" r:id="rId11"/>
    <p:sldLayoutId id="2147484287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2924399-04D2-4D8B-9921-1033E09BE1CD}"/>
              </a:ext>
            </a:extLst>
          </p:cNvPr>
          <p:cNvSpPr/>
          <p:nvPr userDrawn="1"/>
        </p:nvSpPr>
        <p:spPr>
          <a:xfrm>
            <a:off x="0" y="6820907"/>
            <a:ext cx="12192000" cy="457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F275FF6-9627-44A0-84ED-F52E61799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2440" y="1333509"/>
            <a:ext cx="11247120" cy="4758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57757A5-3567-45C8-AAD2-478CDC0B2748}"/>
              </a:ext>
            </a:extLst>
          </p:cNvPr>
          <p:cNvCxnSpPr/>
          <p:nvPr userDrawn="1"/>
        </p:nvCxnSpPr>
        <p:spPr>
          <a:xfrm>
            <a:off x="11430000" y="6319204"/>
            <a:ext cx="0" cy="365125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17DF034-D3F8-444A-AC00-EA2155A32E57}"/>
              </a:ext>
            </a:extLst>
          </p:cNvPr>
          <p:cNvSpPr txBox="1">
            <a:spLocks/>
          </p:cNvSpPr>
          <p:nvPr userDrawn="1"/>
        </p:nvSpPr>
        <p:spPr>
          <a:xfrm>
            <a:off x="11434998" y="6398601"/>
            <a:ext cx="284564" cy="29143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3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32E3B9-EECE-4A89-A6AF-ECDA09B9D2C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EA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33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979EA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357A460F-0C1A-496F-B5D8-DF0D00DBEA9B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5281" y="6307463"/>
            <a:ext cx="2685651" cy="384048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1BBA15AE-47C3-472B-B9B7-1C218232B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" y="456190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D261118-03EB-44D4-896F-BB451602BEB6}"/>
              </a:ext>
            </a:extLst>
          </p:cNvPr>
          <p:cNvCxnSpPr>
            <a:cxnSpLocks/>
          </p:cNvCxnSpPr>
          <p:nvPr userDrawn="1"/>
        </p:nvCxnSpPr>
        <p:spPr>
          <a:xfrm>
            <a:off x="472440" y="1006824"/>
            <a:ext cx="1124712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990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3" r:id="rId11"/>
    <p:sldLayoutId id="2147484224" r:id="rId12"/>
    <p:sldLayoutId id="2147484225" r:id="rId13"/>
    <p:sldLayoutId id="2147484226" r:id="rId14"/>
    <p:sldLayoutId id="2147484227" r:id="rId15"/>
    <p:sldLayoutId id="2147484228" r:id="rId16"/>
    <p:sldLayoutId id="2147484229" r:id="rId17"/>
    <p:sldLayoutId id="2147484230" r:id="rId18"/>
    <p:sldLayoutId id="2147484231" r:id="rId19"/>
    <p:sldLayoutId id="2147484232" r:id="rId20"/>
    <p:sldLayoutId id="2147484233" r:id="rId21"/>
    <p:sldLayoutId id="2147484234" r:id="rId22"/>
    <p:sldLayoutId id="2147484235" r:id="rId23"/>
    <p:sldLayoutId id="2147484236" r:id="rId24"/>
    <p:sldLayoutId id="2147484237" r:id="rId25"/>
    <p:sldLayoutId id="2147484238" r:id="rId26"/>
    <p:sldLayoutId id="2147484239" r:id="rId27"/>
    <p:sldLayoutId id="2147484240" r:id="rId28"/>
    <p:sldLayoutId id="2147484241" r:id="rId29"/>
    <p:sldLayoutId id="2147484242" r:id="rId30"/>
    <p:sldLayoutId id="2147484243" r:id="rId31"/>
    <p:sldLayoutId id="2147484244" r:id="rId32"/>
    <p:sldLayoutId id="2147484245" r:id="rId33"/>
    <p:sldLayoutId id="2147484246" r:id="rId34"/>
  </p:sldLayoutIdLst>
  <p:hf sldNum="0" hdr="0" ftr="0" dt="0"/>
  <p:txStyles>
    <p:titleStyle>
      <a:lvl1pPr algn="l" defTabSz="914332" rtl="0" eaLnBrk="1" latinLnBrk="0" hangingPunct="1">
        <a:lnSpc>
          <a:spcPct val="100000"/>
        </a:lnSpc>
        <a:spcBef>
          <a:spcPct val="0"/>
        </a:spcBef>
        <a:buNone/>
        <a:defRPr sz="4000" kern="1200">
          <a:solidFill>
            <a:schemeClr val="accent3"/>
          </a:solidFill>
          <a:latin typeface="Poppins Light" panose="02000000000000000000" pitchFamily="2" charset="0"/>
          <a:ea typeface="+mj-ea"/>
          <a:cs typeface="+mj-cs"/>
        </a:defRPr>
      </a:lvl1pPr>
    </p:titleStyle>
    <p:bodyStyle>
      <a:lvl1pPr marL="228584" indent="-228584" algn="l" defTabSz="91433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8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1pPr>
      <a:lvl2pPr marL="685750" indent="-228584" algn="l" defTabSz="91433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2pPr>
      <a:lvl3pPr marL="1142914" indent="-228584" algn="l" defTabSz="91433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3pPr>
      <a:lvl4pPr marL="1600080" indent="-228584" algn="l" defTabSz="91433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4pPr>
      <a:lvl5pPr marL="2057247" indent="-228584" algn="l" defTabSz="91433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C007810-57C4-4ECA-BA7E-D2A10585CBF8}"/>
              </a:ext>
            </a:extLst>
          </p:cNvPr>
          <p:cNvCxnSpPr/>
          <p:nvPr userDrawn="1"/>
        </p:nvCxnSpPr>
        <p:spPr>
          <a:xfrm>
            <a:off x="11430000" y="6319204"/>
            <a:ext cx="0" cy="365125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1BBF9DE2-4456-4BE3-B7A4-315FFDD79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440" y="456189"/>
            <a:ext cx="11247120" cy="5506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9365F10-40E7-4AFC-8BDF-37E910F2A896}"/>
              </a:ext>
            </a:extLst>
          </p:cNvPr>
          <p:cNvCxnSpPr>
            <a:cxnSpLocks/>
          </p:cNvCxnSpPr>
          <p:nvPr userDrawn="1"/>
        </p:nvCxnSpPr>
        <p:spPr>
          <a:xfrm>
            <a:off x="472440" y="1006824"/>
            <a:ext cx="11247120" cy="0"/>
          </a:xfrm>
          <a:prstGeom prst="line">
            <a:avLst/>
          </a:prstGeom>
          <a:ln w="12700">
            <a:solidFill>
              <a:srgbClr val="5355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82EDF36-AC85-478A-9BBA-CD8A650A24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2440" y="1333509"/>
            <a:ext cx="11247120" cy="47582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EE784B6-A0FB-490A-85FF-91A7F3F39865}"/>
              </a:ext>
            </a:extLst>
          </p:cNvPr>
          <p:cNvSpPr txBox="1">
            <a:spLocks/>
          </p:cNvSpPr>
          <p:nvPr userDrawn="1"/>
        </p:nvSpPr>
        <p:spPr>
          <a:xfrm>
            <a:off x="11434997" y="6418480"/>
            <a:ext cx="284564" cy="291435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rgbClr val="979EA1"/>
                </a:solidFill>
                <a:latin typeface="Cera PRO" panose="00000500000000000000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A32E3B9-EECE-4A89-A6AF-ECDA09B9D2C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979EA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35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979EA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4945587-73AD-42F0-AE64-7DA53FA62731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7156" y="6327140"/>
            <a:ext cx="2353675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474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  <p:sldLayoutId id="2147484251" r:id="rId4"/>
    <p:sldLayoutId id="2147484252" r:id="rId5"/>
    <p:sldLayoutId id="2147484253" r:id="rId6"/>
    <p:sldLayoutId id="2147484254" r:id="rId7"/>
    <p:sldLayoutId id="2147484255" r:id="rId8"/>
    <p:sldLayoutId id="2147484256" r:id="rId9"/>
    <p:sldLayoutId id="2147484257" r:id="rId10"/>
    <p:sldLayoutId id="2147484258" r:id="rId11"/>
    <p:sldLayoutId id="2147484259" r:id="rId12"/>
    <p:sldLayoutId id="2147484260" r:id="rId13"/>
    <p:sldLayoutId id="2147484261" r:id="rId14"/>
    <p:sldLayoutId id="2147484262" r:id="rId15"/>
    <p:sldLayoutId id="2147484263" r:id="rId16"/>
    <p:sldLayoutId id="2147484264" r:id="rId17"/>
    <p:sldLayoutId id="2147484265" r:id="rId18"/>
    <p:sldLayoutId id="2147484266" r:id="rId19"/>
    <p:sldLayoutId id="2147484267" r:id="rId20"/>
    <p:sldLayoutId id="2147484268" r:id="rId21"/>
    <p:sldLayoutId id="2147484269" r:id="rId22"/>
  </p:sldLayoutIdLst>
  <p:hf sldNum="0" hdr="0" ftr="0" dt="0"/>
  <p:txStyles>
    <p:titleStyle>
      <a:lvl1pPr algn="l" defTabSz="914332" rtl="0" eaLnBrk="1" latinLnBrk="0" hangingPunct="1">
        <a:lnSpc>
          <a:spcPct val="100000"/>
        </a:lnSpc>
        <a:spcBef>
          <a:spcPct val="0"/>
        </a:spcBef>
        <a:buNone/>
        <a:defRPr sz="4000" kern="1200">
          <a:solidFill>
            <a:schemeClr val="accent1"/>
          </a:solidFill>
          <a:latin typeface="Poppins Light" panose="02000000000000000000" pitchFamily="2" charset="0"/>
          <a:ea typeface="+mj-ea"/>
          <a:cs typeface="Poppins Light" panose="02000000000000000000" pitchFamily="2" charset="0"/>
        </a:defRPr>
      </a:lvl1pPr>
    </p:titleStyle>
    <p:bodyStyle>
      <a:lvl1pPr marL="228584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8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1pPr>
      <a:lvl2pPr marL="685750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4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2pPr>
      <a:lvl3pPr marL="1142914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3pPr>
      <a:lvl4pPr marL="1600080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4pPr>
      <a:lvl5pPr marL="2057247" indent="-228584" algn="l" defTabSz="914332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53555C"/>
          </a:solidFill>
          <a:latin typeface="Poppins Light" panose="02000000000000000000" pitchFamily="2" charset="0"/>
          <a:ea typeface="+mn-ea"/>
          <a:cs typeface="Poppins Light" panose="02000000000000000000" pitchFamily="2" charset="0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921835E-CCC3-4029-955C-292B972200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4317F2-9725-4E16-9C85-8DC2636151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0D1371-DD2B-4BE4-BDBE-F8DB17F413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9AA63-66C7-4112-950E-99100818C356}" type="datetimeFigureOut">
              <a:rPr lang="en-US" smtClean="0"/>
              <a:t>3/8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B14AEE-5CC0-4C7E-B8EE-264BBA6D6D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AB9E2A-1032-4FE3-9064-2A0396C5CF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0872C-475F-43EB-A491-E35768B0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201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1" r:id="rId1"/>
    <p:sldLayoutId id="2147484272" r:id="rId2"/>
    <p:sldLayoutId id="2147484273" r:id="rId3"/>
    <p:sldLayoutId id="2147484274" r:id="rId4"/>
    <p:sldLayoutId id="2147484275" r:id="rId5"/>
    <p:sldLayoutId id="2147484276" r:id="rId6"/>
    <p:sldLayoutId id="2147484277" r:id="rId7"/>
    <p:sldLayoutId id="2147484278" r:id="rId8"/>
    <p:sldLayoutId id="2147484279" r:id="rId9"/>
    <p:sldLayoutId id="2147484280" r:id="rId10"/>
    <p:sldLayoutId id="2147484281" r:id="rId11"/>
    <p:sldLayoutId id="2147484282" r:id="rId12"/>
    <p:sldLayoutId id="2147484283" r:id="rId13"/>
    <p:sldLayoutId id="2147484284" r:id="rId14"/>
    <p:sldLayoutId id="2147484285" r:id="rId15"/>
    <p:sldLayoutId id="2147484286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9.xml"/><Relationship Id="rId5" Type="http://schemas.openxmlformats.org/officeDocument/2006/relationships/image" Target="../media/image97.jpeg"/><Relationship Id="rId4" Type="http://schemas.openxmlformats.org/officeDocument/2006/relationships/image" Target="../media/image9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5.xml"/><Relationship Id="rId5" Type="http://schemas.openxmlformats.org/officeDocument/2006/relationships/image" Target="../media/image100.jpeg"/><Relationship Id="rId4" Type="http://schemas.openxmlformats.org/officeDocument/2006/relationships/image" Target="../media/image9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1.xml"/><Relationship Id="rId4" Type="http://schemas.openxmlformats.org/officeDocument/2006/relationships/image" Target="../media/image113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3.xml"/><Relationship Id="rId6" Type="http://schemas.openxmlformats.org/officeDocument/2006/relationships/image" Target="../media/image117.png"/><Relationship Id="rId5" Type="http://schemas.openxmlformats.org/officeDocument/2006/relationships/image" Target="../media/image116.png"/><Relationship Id="rId4" Type="http://schemas.openxmlformats.org/officeDocument/2006/relationships/image" Target="../media/image11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19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jamanetwork.com/journals/jama/article-abstract/2782187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www.usatoday.com/story/money/2020/09/18/unemployment-americans-face-45-b-worth-medical-debt-collections/3480192001/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8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chart" Target="../charts/chart2.xml"/><Relationship Id="rId7" Type="http://schemas.openxmlformats.org/officeDocument/2006/relationships/image" Target="../media/image12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10" Type="http://schemas.openxmlformats.org/officeDocument/2006/relationships/image" Target="../media/image125.png"/><Relationship Id="rId4" Type="http://schemas.openxmlformats.org/officeDocument/2006/relationships/chart" Target="../charts/chart3.xml"/><Relationship Id="rId9" Type="http://schemas.openxmlformats.org/officeDocument/2006/relationships/image" Target="../media/image12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3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fif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8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1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hyperlink" Target="mailto:Taylor.St.Eve@Commercebank.com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7.xml"/><Relationship Id="rId4" Type="http://schemas.openxmlformats.org/officeDocument/2006/relationships/image" Target="../media/image89.jf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A41D37E-9016-4990-B941-FDA104F85E7C}"/>
              </a:ext>
            </a:extLst>
          </p:cNvPr>
          <p:cNvSpPr txBox="1">
            <a:spLocks/>
          </p:cNvSpPr>
          <p:nvPr/>
        </p:nvSpPr>
        <p:spPr>
          <a:xfrm>
            <a:off x="633693" y="1048748"/>
            <a:ext cx="8192254" cy="2367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600" b="1" dirty="0">
                <a:solidFill>
                  <a:schemeClr val="accent1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Patients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600" b="1" dirty="0">
                <a:solidFill>
                  <a:schemeClr val="accent1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The New Payers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pic>
        <p:nvPicPr>
          <p:cNvPr id="1027" name="Picture 7">
            <a:extLst>
              <a:ext uri="{FF2B5EF4-FFF2-40B4-BE49-F238E27FC236}">
                <a16:creationId xmlns:a16="http://schemas.microsoft.com/office/drawing/2014/main" id="{A0E42103-345F-4ED5-8E97-E440DA4EE9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7781" y="0"/>
            <a:ext cx="1884219" cy="577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3822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82CC2-331F-420A-B6AD-815921BE3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umerism Trivi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23D2FEB-209F-4108-87E6-6FCEBCBBAA07}"/>
              </a:ext>
            </a:extLst>
          </p:cNvPr>
          <p:cNvGrpSpPr/>
          <p:nvPr/>
        </p:nvGrpSpPr>
        <p:grpSpPr>
          <a:xfrm>
            <a:off x="3109368" y="2871350"/>
            <a:ext cx="1446450" cy="724564"/>
            <a:chOff x="1025721" y="2704436"/>
            <a:chExt cx="1446450" cy="724564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40CABE4F-E246-44B5-AEBC-CD4174BA4B89}"/>
                </a:ext>
              </a:extLst>
            </p:cNvPr>
            <p:cNvSpPr/>
            <p:nvPr/>
          </p:nvSpPr>
          <p:spPr>
            <a:xfrm>
              <a:off x="1025721" y="2704436"/>
              <a:ext cx="781802" cy="724564"/>
            </a:xfrm>
            <a:prstGeom prst="ellipse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7228B05-5A9D-49DD-9E70-4B89640CBF2A}"/>
                </a:ext>
              </a:extLst>
            </p:cNvPr>
            <p:cNvSpPr txBox="1"/>
            <p:nvPr/>
          </p:nvSpPr>
          <p:spPr>
            <a:xfrm>
              <a:off x="1255773" y="2794053"/>
              <a:ext cx="321697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Poppins SemiBold" panose="02000000000000000000" pitchFamily="2" charset="0"/>
                  <a:ea typeface="+mn-ea"/>
                  <a:cs typeface="Poppins SemiBold" panose="02000000000000000000" pitchFamily="2" charset="0"/>
                </a:rPr>
                <a:t>a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ADE3CD9-E311-4F2E-993C-F563228092BF}"/>
                </a:ext>
              </a:extLst>
            </p:cNvPr>
            <p:cNvSpPr txBox="1"/>
            <p:nvPr/>
          </p:nvSpPr>
          <p:spPr>
            <a:xfrm>
              <a:off x="1999285" y="2917164"/>
              <a:ext cx="472886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dirty="0">
                  <a:solidFill>
                    <a:srgbClr val="53555C"/>
                  </a:solidFill>
                  <a:latin typeface="Poppins" panose="02000000000000000000" pitchFamily="2" charset="0"/>
                  <a:cs typeface="Poppins" panose="02000000000000000000" pitchFamily="2" charset="0"/>
                </a:rPr>
                <a:t>8</a:t>
              </a: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rPr>
                <a:t>%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870C304-12DF-4D61-895E-86FDE0104C0A}"/>
              </a:ext>
            </a:extLst>
          </p:cNvPr>
          <p:cNvGrpSpPr/>
          <p:nvPr/>
        </p:nvGrpSpPr>
        <p:grpSpPr>
          <a:xfrm>
            <a:off x="3109368" y="3849552"/>
            <a:ext cx="1515381" cy="724563"/>
            <a:chOff x="1019925" y="3238166"/>
            <a:chExt cx="1515381" cy="724563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F77B578-925C-4075-B84F-14139866F635}"/>
                </a:ext>
              </a:extLst>
            </p:cNvPr>
            <p:cNvSpPr/>
            <p:nvPr/>
          </p:nvSpPr>
          <p:spPr>
            <a:xfrm>
              <a:off x="1019925" y="3238166"/>
              <a:ext cx="781799" cy="724563"/>
            </a:xfrm>
            <a:prstGeom prst="ellipse">
              <a:avLst/>
            </a:prstGeom>
            <a:solidFill>
              <a:srgbClr val="00B5E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65D9A08-8C76-497A-B009-5C1C727B3890}"/>
                </a:ext>
              </a:extLst>
            </p:cNvPr>
            <p:cNvGrpSpPr/>
            <p:nvPr/>
          </p:nvGrpSpPr>
          <p:grpSpPr>
            <a:xfrm>
              <a:off x="1249976" y="3387023"/>
              <a:ext cx="1285330" cy="553998"/>
              <a:chOff x="1249976" y="3387023"/>
              <a:chExt cx="1285330" cy="553998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9394F0F-62B0-409F-A331-E1A6D26B9D3F}"/>
                  </a:ext>
                </a:extLst>
              </p:cNvPr>
              <p:cNvSpPr txBox="1"/>
              <p:nvPr/>
            </p:nvSpPr>
            <p:spPr>
              <a:xfrm>
                <a:off x="1249976" y="3387023"/>
                <a:ext cx="321697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Poppins SemiBold" panose="02000000000000000000" pitchFamily="2" charset="0"/>
                    <a:ea typeface="+mn-ea"/>
                    <a:cs typeface="Poppins SemiBold" panose="02000000000000000000" pitchFamily="2" charset="0"/>
                  </a:rPr>
                  <a:t>b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1AD93ED-7BDD-4EB8-B57F-4117888202EE}"/>
                  </a:ext>
                </a:extLst>
              </p:cNvPr>
              <p:cNvSpPr txBox="1"/>
              <p:nvPr/>
            </p:nvSpPr>
            <p:spPr>
              <a:xfrm>
                <a:off x="1947003" y="3481914"/>
                <a:ext cx="588303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800" dirty="0">
                    <a:solidFill>
                      <a:srgbClr val="53555C"/>
                    </a:solidFill>
                    <a:latin typeface="Poppins" panose="02000000000000000000" pitchFamily="2" charset="0"/>
                    <a:cs typeface="Poppins" panose="02000000000000000000" pitchFamily="2" charset="0"/>
                  </a:rPr>
                  <a:t>14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55C"/>
                    </a:solidFill>
                    <a:effectLst/>
                    <a:uLnTx/>
                    <a:uFillTx/>
                    <a:latin typeface="Poppins" panose="02000000000000000000" pitchFamily="2" charset="0"/>
                    <a:ea typeface="+mn-ea"/>
                    <a:cs typeface="Poppins" panose="02000000000000000000" pitchFamily="2" charset="0"/>
                  </a:rPr>
                  <a:t>%</a:t>
                </a: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E824B94-6693-4EBE-8249-3A53F3FE774F}"/>
              </a:ext>
            </a:extLst>
          </p:cNvPr>
          <p:cNvGrpSpPr/>
          <p:nvPr/>
        </p:nvGrpSpPr>
        <p:grpSpPr>
          <a:xfrm>
            <a:off x="6827846" y="2871351"/>
            <a:ext cx="1567667" cy="724563"/>
            <a:chOff x="1019924" y="3912041"/>
            <a:chExt cx="1567667" cy="72456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80ADD8A-52C4-42E4-88D9-ACBFCCCE45EC}"/>
                </a:ext>
              </a:extLst>
            </p:cNvPr>
            <p:cNvSpPr/>
            <p:nvPr/>
          </p:nvSpPr>
          <p:spPr>
            <a:xfrm>
              <a:off x="1019924" y="3912041"/>
              <a:ext cx="781801" cy="72456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6B4FE22-4E01-41C9-943A-2D9D93539920}"/>
                </a:ext>
              </a:extLst>
            </p:cNvPr>
            <p:cNvSpPr txBox="1"/>
            <p:nvPr/>
          </p:nvSpPr>
          <p:spPr>
            <a:xfrm>
              <a:off x="1249975" y="4024888"/>
              <a:ext cx="321697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Poppins SemiBold" panose="02000000000000000000" pitchFamily="2" charset="0"/>
                  <a:ea typeface="+mn-ea"/>
                  <a:cs typeface="Poppins SemiBold" panose="02000000000000000000" pitchFamily="2" charset="0"/>
                </a:rPr>
                <a:t>c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C1E5151-0654-40E5-927D-FD86A2CB1D5F}"/>
                </a:ext>
              </a:extLst>
            </p:cNvPr>
            <p:cNvSpPr txBox="1"/>
            <p:nvPr/>
          </p:nvSpPr>
          <p:spPr>
            <a:xfrm>
              <a:off x="1906314" y="4124188"/>
              <a:ext cx="681277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rPr>
                <a:t>29%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F4FA10-0EFF-46AA-B4E9-E063A0E5B51E}"/>
              </a:ext>
            </a:extLst>
          </p:cNvPr>
          <p:cNvGrpSpPr/>
          <p:nvPr/>
        </p:nvGrpSpPr>
        <p:grpSpPr>
          <a:xfrm>
            <a:off x="6816196" y="3849552"/>
            <a:ext cx="1540414" cy="724563"/>
            <a:chOff x="1019925" y="4714130"/>
            <a:chExt cx="1540414" cy="72456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21D73B-5820-4621-A367-975979117EB2}"/>
                </a:ext>
              </a:extLst>
            </p:cNvPr>
            <p:cNvSpPr/>
            <p:nvPr/>
          </p:nvSpPr>
          <p:spPr>
            <a:xfrm>
              <a:off x="1019925" y="4714130"/>
              <a:ext cx="781800" cy="724563"/>
            </a:xfrm>
            <a:prstGeom prst="ellipse">
              <a:avLst/>
            </a:prstGeom>
            <a:solidFill>
              <a:srgbClr val="006747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7398860-AB8C-4D1E-BA29-2ED7289DE8E6}"/>
                </a:ext>
              </a:extLst>
            </p:cNvPr>
            <p:cNvSpPr txBox="1"/>
            <p:nvPr/>
          </p:nvSpPr>
          <p:spPr>
            <a:xfrm>
              <a:off x="1249975" y="4828725"/>
              <a:ext cx="286745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Poppins SemiBold" panose="02000000000000000000" pitchFamily="2" charset="0"/>
                  <a:ea typeface="+mn-ea"/>
                  <a:cs typeface="Poppins SemiBold" panose="02000000000000000000" pitchFamily="2" charset="0"/>
                </a:rPr>
                <a:t>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20627DB-C593-4CE5-8F12-11CFAC29A05A}"/>
                </a:ext>
              </a:extLst>
            </p:cNvPr>
            <p:cNvSpPr txBox="1"/>
            <p:nvPr/>
          </p:nvSpPr>
          <p:spPr>
            <a:xfrm>
              <a:off x="1903108" y="4890280"/>
              <a:ext cx="657231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rPr>
                <a:t>37%</a:t>
              </a:r>
            </a:p>
          </p:txBody>
        </p:sp>
      </p:grpSp>
      <p:sp>
        <p:nvSpPr>
          <p:cNvPr id="20" name="Subtitle 3">
            <a:extLst>
              <a:ext uri="{FF2B5EF4-FFF2-40B4-BE49-F238E27FC236}">
                <a16:creationId xmlns:a16="http://schemas.microsoft.com/office/drawing/2014/main" id="{F0F8CE18-48FE-4A39-9949-7B811E9FC728}"/>
              </a:ext>
            </a:extLst>
          </p:cNvPr>
          <p:cNvSpPr txBox="1">
            <a:spLocks/>
          </p:cNvSpPr>
          <p:nvPr/>
        </p:nvSpPr>
        <p:spPr>
          <a:xfrm>
            <a:off x="609601" y="1748764"/>
            <a:ext cx="11230253" cy="76993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dirty="0">
                <a:cs typeface="Poppins" panose="02000000000000000000" pitchFamily="2" charset="0"/>
              </a:rPr>
              <a:t>What percentage of workers are subjected to a $2,000 or higher deductible?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Poppins SemiBold" panose="02000000000000000000" pitchFamily="2" charset="0"/>
              <a:ea typeface="+mn-ea"/>
              <a:cs typeface="Poppins SemiBold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4ADED2F-DE52-4B2C-8ED5-F0CAEFF8606F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9281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9F973-26E7-45C1-95D0-355287A24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umerism Trivia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79D9429-F730-406F-AE3C-7387237E92FA}"/>
              </a:ext>
            </a:extLst>
          </p:cNvPr>
          <p:cNvSpPr txBox="1">
            <a:spLocks/>
          </p:cNvSpPr>
          <p:nvPr/>
        </p:nvSpPr>
        <p:spPr>
          <a:xfrm>
            <a:off x="4145259" y="3269622"/>
            <a:ext cx="1358283" cy="322936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Poppins SemiBold" panose="02000000000000000000" pitchFamily="2" charset="0"/>
                <a:ea typeface="+mn-ea"/>
                <a:cs typeface="Poppins SemiBold" panose="02000000000000000000" pitchFamily="2" charset="0"/>
              </a:rPr>
              <a:t>Answer: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Poppins SemiBold" panose="02000000000000000000" pitchFamily="2" charset="0"/>
              <a:ea typeface="+mn-ea"/>
              <a:cs typeface="Poppins SemiBold" panose="02000000000000000000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829912-4663-46FF-BCDE-22FE0A6D9B40}"/>
              </a:ext>
            </a:extLst>
          </p:cNvPr>
          <p:cNvSpPr/>
          <p:nvPr/>
        </p:nvSpPr>
        <p:spPr>
          <a:xfrm>
            <a:off x="73290" y="5901516"/>
            <a:ext cx="67177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/>
          </a:p>
          <a:p>
            <a:r>
              <a:rPr lang="en-US" sz="1400" dirty="0"/>
              <a:t>Source: Kaiser Family Foundation, Employer Health Benefits: Summary of Findings, 2019.</a:t>
            </a:r>
          </a:p>
        </p:txBody>
      </p:sp>
      <p:sp>
        <p:nvSpPr>
          <p:cNvPr id="9" name="Subtitle 3">
            <a:extLst>
              <a:ext uri="{FF2B5EF4-FFF2-40B4-BE49-F238E27FC236}">
                <a16:creationId xmlns:a16="http://schemas.microsoft.com/office/drawing/2014/main" id="{6A0BFBC4-8017-4B17-B1EF-BF3827135F67}"/>
              </a:ext>
            </a:extLst>
          </p:cNvPr>
          <p:cNvSpPr txBox="1">
            <a:spLocks/>
          </p:cNvSpPr>
          <p:nvPr/>
        </p:nvSpPr>
        <p:spPr>
          <a:xfrm>
            <a:off x="609601" y="1559538"/>
            <a:ext cx="11230253" cy="76993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dirty="0">
                <a:cs typeface="Poppins" panose="02000000000000000000" pitchFamily="2" charset="0"/>
              </a:rPr>
              <a:t>What percentage of workers are subjected to a $2,000 or higher deductible?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64403AA-A2A7-44CD-88E0-43BF6C9CCA1C}"/>
              </a:ext>
            </a:extLst>
          </p:cNvPr>
          <p:cNvGrpSpPr/>
          <p:nvPr/>
        </p:nvGrpSpPr>
        <p:grpSpPr>
          <a:xfrm>
            <a:off x="5904626" y="3066718"/>
            <a:ext cx="1567667" cy="724563"/>
            <a:chOff x="1019924" y="3912041"/>
            <a:chExt cx="1567667" cy="72456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EF5B9A7-87CF-4AA6-BA2A-0AAF3C6A8CFC}"/>
                </a:ext>
              </a:extLst>
            </p:cNvPr>
            <p:cNvSpPr/>
            <p:nvPr/>
          </p:nvSpPr>
          <p:spPr>
            <a:xfrm>
              <a:off x="1019924" y="3912041"/>
              <a:ext cx="781801" cy="72456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D5689B6-0949-4F33-80DA-6F5B57D45B2F}"/>
                </a:ext>
              </a:extLst>
            </p:cNvPr>
            <p:cNvSpPr txBox="1"/>
            <p:nvPr/>
          </p:nvSpPr>
          <p:spPr>
            <a:xfrm>
              <a:off x="1249975" y="4024888"/>
              <a:ext cx="321697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Poppins SemiBold" panose="02000000000000000000" pitchFamily="2" charset="0"/>
                  <a:ea typeface="+mn-ea"/>
                  <a:cs typeface="Poppins SemiBold" panose="02000000000000000000" pitchFamily="2" charset="0"/>
                </a:rPr>
                <a:t>c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F378A74-382D-461C-A3B7-2D88EED2924D}"/>
                </a:ext>
              </a:extLst>
            </p:cNvPr>
            <p:cNvSpPr txBox="1"/>
            <p:nvPr/>
          </p:nvSpPr>
          <p:spPr>
            <a:xfrm>
              <a:off x="1906314" y="4124188"/>
              <a:ext cx="681277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rPr>
                <a:t>29%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DBC74113-A1B1-4AE2-A2C4-7EA5B70A8751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1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F82CC2-331F-420A-B6AD-815921BE38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umerism Trivia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23D2FEB-209F-4108-87E6-6FCEBCBBAA07}"/>
              </a:ext>
            </a:extLst>
          </p:cNvPr>
          <p:cNvGrpSpPr/>
          <p:nvPr/>
        </p:nvGrpSpPr>
        <p:grpSpPr>
          <a:xfrm>
            <a:off x="3109368" y="2871350"/>
            <a:ext cx="1430420" cy="724564"/>
            <a:chOff x="1025721" y="2704436"/>
            <a:chExt cx="1430420" cy="724564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40CABE4F-E246-44B5-AEBC-CD4174BA4B89}"/>
                </a:ext>
              </a:extLst>
            </p:cNvPr>
            <p:cNvSpPr/>
            <p:nvPr/>
          </p:nvSpPr>
          <p:spPr>
            <a:xfrm>
              <a:off x="1025721" y="2704436"/>
              <a:ext cx="781802" cy="724564"/>
            </a:xfrm>
            <a:prstGeom prst="ellipse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D7228B05-5A9D-49DD-9E70-4B89640CBF2A}"/>
                </a:ext>
              </a:extLst>
            </p:cNvPr>
            <p:cNvSpPr txBox="1"/>
            <p:nvPr/>
          </p:nvSpPr>
          <p:spPr>
            <a:xfrm>
              <a:off x="1255773" y="2794053"/>
              <a:ext cx="321697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Poppins SemiBold" panose="02000000000000000000" pitchFamily="2" charset="0"/>
                  <a:ea typeface="+mn-ea"/>
                  <a:cs typeface="Poppins SemiBold" panose="02000000000000000000" pitchFamily="2" charset="0"/>
                </a:rPr>
                <a:t>a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ADE3CD9-E311-4F2E-993C-F563228092BF}"/>
                </a:ext>
              </a:extLst>
            </p:cNvPr>
            <p:cNvSpPr txBox="1"/>
            <p:nvPr/>
          </p:nvSpPr>
          <p:spPr>
            <a:xfrm>
              <a:off x="1999285" y="2917164"/>
              <a:ext cx="456856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rPr>
                <a:t>3%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870C304-12DF-4D61-895E-86FDE0104C0A}"/>
              </a:ext>
            </a:extLst>
          </p:cNvPr>
          <p:cNvGrpSpPr/>
          <p:nvPr/>
        </p:nvGrpSpPr>
        <p:grpSpPr>
          <a:xfrm>
            <a:off x="3109368" y="3849552"/>
            <a:ext cx="1496145" cy="724563"/>
            <a:chOff x="1019925" y="3238166"/>
            <a:chExt cx="1496145" cy="724563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F77B578-925C-4075-B84F-14139866F635}"/>
                </a:ext>
              </a:extLst>
            </p:cNvPr>
            <p:cNvSpPr/>
            <p:nvPr/>
          </p:nvSpPr>
          <p:spPr>
            <a:xfrm>
              <a:off x="1019925" y="3238166"/>
              <a:ext cx="781799" cy="724563"/>
            </a:xfrm>
            <a:prstGeom prst="ellipse">
              <a:avLst/>
            </a:prstGeom>
            <a:solidFill>
              <a:srgbClr val="00B5E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65D9A08-8C76-497A-B009-5C1C727B3890}"/>
                </a:ext>
              </a:extLst>
            </p:cNvPr>
            <p:cNvGrpSpPr/>
            <p:nvPr/>
          </p:nvGrpSpPr>
          <p:grpSpPr>
            <a:xfrm>
              <a:off x="1249976" y="3387023"/>
              <a:ext cx="1266094" cy="553998"/>
              <a:chOff x="1249976" y="3387023"/>
              <a:chExt cx="1266094" cy="553998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9394F0F-62B0-409F-A331-E1A6D26B9D3F}"/>
                  </a:ext>
                </a:extLst>
              </p:cNvPr>
              <p:cNvSpPr txBox="1"/>
              <p:nvPr/>
            </p:nvSpPr>
            <p:spPr>
              <a:xfrm>
                <a:off x="1249976" y="3387023"/>
                <a:ext cx="321697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Poppins SemiBold" panose="02000000000000000000" pitchFamily="2" charset="0"/>
                    <a:ea typeface="+mn-ea"/>
                    <a:cs typeface="Poppins SemiBold" panose="02000000000000000000" pitchFamily="2" charset="0"/>
                  </a:rPr>
                  <a:t>b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1AD93ED-7BDD-4EB8-B57F-4117888202EE}"/>
                  </a:ext>
                </a:extLst>
              </p:cNvPr>
              <p:cNvSpPr txBox="1"/>
              <p:nvPr/>
            </p:nvSpPr>
            <p:spPr>
              <a:xfrm>
                <a:off x="1947003" y="3481914"/>
                <a:ext cx="569067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800" dirty="0">
                    <a:solidFill>
                      <a:srgbClr val="53555C"/>
                    </a:solidFill>
                    <a:latin typeface="Poppins" panose="02000000000000000000" pitchFamily="2" charset="0"/>
                    <a:cs typeface="Poppins" panose="02000000000000000000" pitchFamily="2" charset="0"/>
                  </a:rPr>
                  <a:t>12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55C"/>
                    </a:solidFill>
                    <a:effectLst/>
                    <a:uLnTx/>
                    <a:uFillTx/>
                    <a:latin typeface="Poppins" panose="02000000000000000000" pitchFamily="2" charset="0"/>
                    <a:ea typeface="+mn-ea"/>
                    <a:cs typeface="Poppins" panose="02000000000000000000" pitchFamily="2" charset="0"/>
                  </a:rPr>
                  <a:t>%</a:t>
                </a:r>
              </a:p>
            </p:txBody>
          </p:sp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E824B94-6693-4EBE-8249-3A53F3FE774F}"/>
              </a:ext>
            </a:extLst>
          </p:cNvPr>
          <p:cNvGrpSpPr/>
          <p:nvPr/>
        </p:nvGrpSpPr>
        <p:grpSpPr>
          <a:xfrm>
            <a:off x="6827846" y="2871351"/>
            <a:ext cx="1551637" cy="724563"/>
            <a:chOff x="1019924" y="3912041"/>
            <a:chExt cx="1551637" cy="72456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80ADD8A-52C4-42E4-88D9-ACBFCCCE45EC}"/>
                </a:ext>
              </a:extLst>
            </p:cNvPr>
            <p:cNvSpPr/>
            <p:nvPr/>
          </p:nvSpPr>
          <p:spPr>
            <a:xfrm>
              <a:off x="1019924" y="3912041"/>
              <a:ext cx="781801" cy="72456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6B4FE22-4E01-41C9-943A-2D9D93539920}"/>
                </a:ext>
              </a:extLst>
            </p:cNvPr>
            <p:cNvSpPr txBox="1"/>
            <p:nvPr/>
          </p:nvSpPr>
          <p:spPr>
            <a:xfrm>
              <a:off x="1249975" y="4024888"/>
              <a:ext cx="321697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Poppins SemiBold" panose="02000000000000000000" pitchFamily="2" charset="0"/>
                  <a:ea typeface="+mn-ea"/>
                  <a:cs typeface="Poppins SemiBold" panose="02000000000000000000" pitchFamily="2" charset="0"/>
                </a:rPr>
                <a:t>c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C1E5151-0654-40E5-927D-FD86A2CB1D5F}"/>
                </a:ext>
              </a:extLst>
            </p:cNvPr>
            <p:cNvSpPr txBox="1"/>
            <p:nvPr/>
          </p:nvSpPr>
          <p:spPr>
            <a:xfrm>
              <a:off x="1906314" y="4124188"/>
              <a:ext cx="665247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dirty="0">
                  <a:solidFill>
                    <a:srgbClr val="53555C"/>
                  </a:solidFill>
                  <a:latin typeface="Poppins" panose="02000000000000000000" pitchFamily="2" charset="0"/>
                  <a:cs typeface="Poppins" panose="02000000000000000000" pitchFamily="2" charset="0"/>
                </a:rPr>
                <a:t>23</a:t>
              </a: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rPr>
                <a:t>%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0F4FA10-0EFF-46AA-B4E9-E063A0E5B51E}"/>
              </a:ext>
            </a:extLst>
          </p:cNvPr>
          <p:cNvGrpSpPr/>
          <p:nvPr/>
        </p:nvGrpSpPr>
        <p:grpSpPr>
          <a:xfrm>
            <a:off x="6816196" y="3849552"/>
            <a:ext cx="1567666" cy="724563"/>
            <a:chOff x="1019925" y="4714130"/>
            <a:chExt cx="1567666" cy="724563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721D73B-5820-4621-A367-975979117EB2}"/>
                </a:ext>
              </a:extLst>
            </p:cNvPr>
            <p:cNvSpPr/>
            <p:nvPr/>
          </p:nvSpPr>
          <p:spPr>
            <a:xfrm>
              <a:off x="1019925" y="4714130"/>
              <a:ext cx="781800" cy="724563"/>
            </a:xfrm>
            <a:prstGeom prst="ellipse">
              <a:avLst/>
            </a:prstGeom>
            <a:solidFill>
              <a:srgbClr val="006747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7398860-AB8C-4D1E-BA29-2ED7289DE8E6}"/>
                </a:ext>
              </a:extLst>
            </p:cNvPr>
            <p:cNvSpPr txBox="1"/>
            <p:nvPr/>
          </p:nvSpPr>
          <p:spPr>
            <a:xfrm>
              <a:off x="1249975" y="4828725"/>
              <a:ext cx="286745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Poppins SemiBold" panose="02000000000000000000" pitchFamily="2" charset="0"/>
                  <a:ea typeface="+mn-ea"/>
                  <a:cs typeface="Poppins SemiBold" panose="02000000000000000000" pitchFamily="2" charset="0"/>
                </a:rPr>
                <a:t>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20627DB-C593-4CE5-8F12-11CFAC29A05A}"/>
                </a:ext>
              </a:extLst>
            </p:cNvPr>
            <p:cNvSpPr txBox="1"/>
            <p:nvPr/>
          </p:nvSpPr>
          <p:spPr>
            <a:xfrm>
              <a:off x="1903108" y="4890280"/>
              <a:ext cx="684483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dirty="0">
                  <a:solidFill>
                    <a:srgbClr val="53555C"/>
                  </a:solidFill>
                  <a:latin typeface="Poppins" panose="02000000000000000000" pitchFamily="2" charset="0"/>
                  <a:cs typeface="Poppins" panose="02000000000000000000" pitchFamily="2" charset="0"/>
                </a:rPr>
                <a:t>30</a:t>
              </a: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rPr>
                <a:t>%</a:t>
              </a:r>
            </a:p>
          </p:txBody>
        </p:sp>
      </p:grpSp>
      <p:sp>
        <p:nvSpPr>
          <p:cNvPr id="20" name="Subtitle 3">
            <a:extLst>
              <a:ext uri="{FF2B5EF4-FFF2-40B4-BE49-F238E27FC236}">
                <a16:creationId xmlns:a16="http://schemas.microsoft.com/office/drawing/2014/main" id="{F0F8CE18-48FE-4A39-9949-7B811E9FC728}"/>
              </a:ext>
            </a:extLst>
          </p:cNvPr>
          <p:cNvSpPr txBox="1">
            <a:spLocks/>
          </p:cNvSpPr>
          <p:nvPr/>
        </p:nvSpPr>
        <p:spPr>
          <a:xfrm>
            <a:off x="488130" y="1785467"/>
            <a:ext cx="11230253" cy="76993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dirty="0"/>
              <a:t>Prior to the pandemic, what percentage of Americans were just covering basic living expenses?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Poppins SemiBold" panose="02000000000000000000" pitchFamily="2" charset="0"/>
              <a:ea typeface="+mn-ea"/>
              <a:cs typeface="Poppins SemiBold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3356663-E90F-4C45-8BBE-9FAC920CD188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8815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9F973-26E7-45C1-95D0-355287A24C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umerism Trivia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479D9429-F730-406F-AE3C-7387237E92FA}"/>
              </a:ext>
            </a:extLst>
          </p:cNvPr>
          <p:cNvSpPr txBox="1">
            <a:spLocks/>
          </p:cNvSpPr>
          <p:nvPr/>
        </p:nvSpPr>
        <p:spPr>
          <a:xfrm>
            <a:off x="4145259" y="3269622"/>
            <a:ext cx="1358283" cy="322936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Poppins SemiBold" panose="02000000000000000000" pitchFamily="2" charset="0"/>
                <a:ea typeface="+mn-ea"/>
                <a:cs typeface="Poppins SemiBold" panose="02000000000000000000" pitchFamily="2" charset="0"/>
              </a:rPr>
              <a:t>Answer: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Poppins SemiBold" panose="02000000000000000000" pitchFamily="2" charset="0"/>
              <a:ea typeface="+mn-ea"/>
              <a:cs typeface="Poppins SemiBold" panose="02000000000000000000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829912-4663-46FF-BCDE-22FE0A6D9B40}"/>
              </a:ext>
            </a:extLst>
          </p:cNvPr>
          <p:cNvSpPr/>
          <p:nvPr/>
        </p:nvSpPr>
        <p:spPr>
          <a:xfrm>
            <a:off x="73290" y="5901516"/>
            <a:ext cx="67177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Source: Transamerica, Retirement Security Amid COVID-19: The Outlook of Three Generations, May 2020.</a:t>
            </a:r>
          </a:p>
          <a:p>
            <a:endParaRPr lang="en-US" sz="1400" dirty="0"/>
          </a:p>
        </p:txBody>
      </p:sp>
      <p:sp>
        <p:nvSpPr>
          <p:cNvPr id="9" name="Subtitle 3">
            <a:extLst>
              <a:ext uri="{FF2B5EF4-FFF2-40B4-BE49-F238E27FC236}">
                <a16:creationId xmlns:a16="http://schemas.microsoft.com/office/drawing/2014/main" id="{6A0BFBC4-8017-4B17-B1EF-BF3827135F67}"/>
              </a:ext>
            </a:extLst>
          </p:cNvPr>
          <p:cNvSpPr txBox="1">
            <a:spLocks/>
          </p:cNvSpPr>
          <p:nvPr/>
        </p:nvSpPr>
        <p:spPr>
          <a:xfrm>
            <a:off x="488130" y="1785467"/>
            <a:ext cx="11230253" cy="76993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en-US" dirty="0"/>
              <a:t>Prior to the pandemic, what percentage of Americans were just covering basic living expenses?</a:t>
            </a:r>
          </a:p>
          <a:p>
            <a:pPr marL="0" indent="0">
              <a:buNone/>
              <a:defRPr/>
            </a:pPr>
            <a:endParaRPr lang="en-US" dirty="0">
              <a:cs typeface="Poppins" panose="02000000000000000000" pitchFamily="2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76C0657-2FB3-4DEA-BC44-7953350B4898}"/>
              </a:ext>
            </a:extLst>
          </p:cNvPr>
          <p:cNvGrpSpPr/>
          <p:nvPr/>
        </p:nvGrpSpPr>
        <p:grpSpPr>
          <a:xfrm>
            <a:off x="6096000" y="3141615"/>
            <a:ext cx="1567666" cy="724563"/>
            <a:chOff x="1019925" y="4714130"/>
            <a:chExt cx="1567666" cy="724563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130CF5C-A5A4-4294-800C-C100D42ACB39}"/>
                </a:ext>
              </a:extLst>
            </p:cNvPr>
            <p:cNvSpPr/>
            <p:nvPr/>
          </p:nvSpPr>
          <p:spPr>
            <a:xfrm>
              <a:off x="1019925" y="4714130"/>
              <a:ext cx="781800" cy="724563"/>
            </a:xfrm>
            <a:prstGeom prst="ellipse">
              <a:avLst/>
            </a:prstGeom>
            <a:solidFill>
              <a:srgbClr val="006747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6391909-DDC0-4854-AC2B-FA77E49872E6}"/>
                </a:ext>
              </a:extLst>
            </p:cNvPr>
            <p:cNvSpPr txBox="1"/>
            <p:nvPr/>
          </p:nvSpPr>
          <p:spPr>
            <a:xfrm>
              <a:off x="1249975" y="4828725"/>
              <a:ext cx="286745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Poppins SemiBold" panose="02000000000000000000" pitchFamily="2" charset="0"/>
                  <a:ea typeface="+mn-ea"/>
                  <a:cs typeface="Poppins SemiBold" panose="02000000000000000000" pitchFamily="2" charset="0"/>
                </a:rPr>
                <a:t>d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9420D24-08E2-482C-9125-CD4E3258F5E5}"/>
                </a:ext>
              </a:extLst>
            </p:cNvPr>
            <p:cNvSpPr txBox="1"/>
            <p:nvPr/>
          </p:nvSpPr>
          <p:spPr>
            <a:xfrm>
              <a:off x="1903108" y="4890280"/>
              <a:ext cx="684483" cy="430887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dirty="0">
                  <a:solidFill>
                    <a:srgbClr val="53555C"/>
                  </a:solidFill>
                  <a:latin typeface="Poppins" panose="02000000000000000000" pitchFamily="2" charset="0"/>
                  <a:cs typeface="Poppins" panose="02000000000000000000" pitchFamily="2" charset="0"/>
                </a:rPr>
                <a:t>30</a:t>
              </a: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rPr>
                <a:t>%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8E430285-71E2-4874-A975-1FE789AD18A1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773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D155480-247D-4B0B-9528-2BEA887DB320}"/>
              </a:ext>
            </a:extLst>
          </p:cNvPr>
          <p:cNvSpPr/>
          <p:nvPr/>
        </p:nvSpPr>
        <p:spPr>
          <a:xfrm>
            <a:off x="3540154" y="999303"/>
            <a:ext cx="8279934" cy="1531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E9B1A2D2-87F3-4260-A1D9-431648A7AD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Placeholder 8" descr="man_typing.jpg">
            <a:extLst>
              <a:ext uri="{FF2B5EF4-FFF2-40B4-BE49-F238E27FC236}">
                <a16:creationId xmlns:a16="http://schemas.microsoft.com/office/drawing/2014/main" id="{7F7671BC-5655-48D2-BA6E-A35F4B9DA5D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479761" cy="18389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4AB579E-D47A-4FDB-A556-8DB4561B9A2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643594"/>
            <a:ext cx="4479761" cy="214376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498520C-4AF3-4856-AD01-AB3C68FF5628}"/>
              </a:ext>
            </a:extLst>
          </p:cNvPr>
          <p:cNvCxnSpPr>
            <a:cxnSpLocks/>
          </p:cNvCxnSpPr>
          <p:nvPr/>
        </p:nvCxnSpPr>
        <p:spPr>
          <a:xfrm>
            <a:off x="4479761" y="1237679"/>
            <a:ext cx="6251449" cy="0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9D0F94C4-8A28-4EB8-A5A2-7A91909DD6AF}"/>
              </a:ext>
            </a:extLst>
          </p:cNvPr>
          <p:cNvSpPr/>
          <p:nvPr/>
        </p:nvSpPr>
        <p:spPr>
          <a:xfrm>
            <a:off x="5244810" y="478058"/>
            <a:ext cx="576103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rPr>
              <a:t>AGENDA</a:t>
            </a:r>
          </a:p>
        </p:txBody>
      </p:sp>
      <p:pic>
        <p:nvPicPr>
          <p:cNvPr id="10" name="Picture 9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2D231CDA-766A-4626-BB0E-CA164D0B8C1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867074"/>
            <a:ext cx="4479760" cy="2748406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D7D44D0-B383-4F8F-8DAB-0B9C46FDD846}"/>
              </a:ext>
            </a:extLst>
          </p:cNvPr>
          <p:cNvSpPr txBox="1">
            <a:spLocks/>
          </p:cNvSpPr>
          <p:nvPr/>
        </p:nvSpPr>
        <p:spPr>
          <a:xfrm>
            <a:off x="5244893" y="1476055"/>
            <a:ext cx="6383890" cy="48545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50000"/>
              </a:lnSpc>
              <a:spcBef>
                <a:spcPts val="600"/>
              </a:spcBef>
              <a:defRPr/>
            </a:pPr>
            <a:endParaRPr lang="en-US" sz="1800" dirty="0">
              <a:solidFill>
                <a:prstClr val="black"/>
              </a:solidFill>
              <a:latin typeface="Poppins" panose="02000000000000000000" pitchFamily="2" charset="0"/>
              <a:cs typeface="Poppins" panose="02000000000000000000" pitchFamily="2" charset="0"/>
            </a:endParaRP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prstClr val="black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Rise of Patient Payers</a:t>
            </a: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prstClr val="black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Providers, Payers and Patients</a:t>
            </a: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prstClr val="black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Improving the Revenue Cycle</a:t>
            </a: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prstClr val="black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Client Study</a:t>
            </a:r>
          </a:p>
          <a:p>
            <a:pPr marL="285750" indent="-285750" algn="l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Ø"/>
              <a:defRPr/>
            </a:pPr>
            <a:r>
              <a:rPr lang="en-US" sz="1800" dirty="0">
                <a:solidFill>
                  <a:prstClr val="black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Measuring Costs &amp; Value</a:t>
            </a:r>
          </a:p>
          <a:p>
            <a:pPr algn="l">
              <a:spcBef>
                <a:spcPts val="600"/>
              </a:spcBef>
              <a:defRPr/>
            </a:pPr>
            <a:endParaRPr lang="en-US" sz="1600" dirty="0">
              <a:solidFill>
                <a:prstClr val="black"/>
              </a:solidFill>
              <a:latin typeface="Poppins" panose="02000000000000000000" pitchFamily="2" charset="0"/>
              <a:cs typeface="Poppins" panose="02000000000000000000" pitchFamily="2" charset="0"/>
            </a:endParaRPr>
          </a:p>
          <a:p>
            <a:pPr algn="l">
              <a:spcBef>
                <a:spcPts val="600"/>
              </a:spcBef>
              <a:defRPr/>
            </a:pPr>
            <a:endParaRPr lang="en-US" sz="1600" dirty="0">
              <a:solidFill>
                <a:prstClr val="black"/>
              </a:solidFill>
              <a:latin typeface="Poppins" panose="02000000000000000000" pitchFamily="2" charset="0"/>
              <a:cs typeface="Poppins" panose="02000000000000000000" pitchFamily="2" charset="0"/>
            </a:endParaRPr>
          </a:p>
          <a:p>
            <a:pPr algn="l">
              <a:spcBef>
                <a:spcPts val="600"/>
              </a:spcBef>
              <a:defRPr/>
            </a:pPr>
            <a:endParaRPr lang="en-US" sz="1600" dirty="0">
              <a:solidFill>
                <a:prstClr val="black"/>
              </a:solidFill>
              <a:latin typeface="Poppins" panose="02000000000000000000" pitchFamily="2" charset="0"/>
              <a:cs typeface="Poppins" panose="02000000000000000000" pitchFamily="2" charset="0"/>
            </a:endParaRPr>
          </a:p>
          <a:p>
            <a:pPr marL="1371600" marR="0" lvl="2" indent="-457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  <a:p>
            <a:pPr marR="0" lvl="2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Poppins" panose="020000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9EC433-642A-4EF1-840E-B7FF497FD101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3215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C369DEF-6DC9-AC45-A350-DB070F8EFD4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Box 15">
            <a:extLst>
              <a:ext uri="{FF2B5EF4-FFF2-40B4-BE49-F238E27FC236}">
                <a16:creationId xmlns:a16="http://schemas.microsoft.com/office/drawing/2014/main" id="{E16D7C9C-7A45-4377-92CA-7BE8DE0B4B7E}"/>
              </a:ext>
            </a:extLst>
          </p:cNvPr>
          <p:cNvSpPr txBox="1"/>
          <p:nvPr/>
        </p:nvSpPr>
        <p:spPr>
          <a:xfrm>
            <a:off x="503898" y="376882"/>
            <a:ext cx="116881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Agend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82A10B6-F2EE-4F27-BAB1-BB39870F2635}"/>
              </a:ext>
            </a:extLst>
          </p:cNvPr>
          <p:cNvSpPr/>
          <p:nvPr/>
        </p:nvSpPr>
        <p:spPr>
          <a:xfrm>
            <a:off x="503901" y="4533900"/>
            <a:ext cx="3521752" cy="182556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18">
            <a:extLst>
              <a:ext uri="{FF2B5EF4-FFF2-40B4-BE49-F238E27FC236}">
                <a16:creationId xmlns:a16="http://schemas.microsoft.com/office/drawing/2014/main" id="{B44D21E8-CA67-45D0-9BD1-5A24979A54F3}"/>
              </a:ext>
            </a:extLst>
          </p:cNvPr>
          <p:cNvSpPr txBox="1"/>
          <p:nvPr/>
        </p:nvSpPr>
        <p:spPr>
          <a:xfrm>
            <a:off x="492818" y="4567403"/>
            <a:ext cx="3521753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1" b="1" i="0" u="none" strike="noStrike" kern="1200" cap="none" spc="450" normalizeH="0" baseline="0" noProof="0" dirty="0">
                <a:ln>
                  <a:noFill/>
                </a:ln>
                <a:solidFill>
                  <a:srgbClr val="77B94B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01. </a:t>
            </a:r>
          </a:p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1" b="1" i="0" u="none" strike="noStrike" kern="1200" cap="none" spc="4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PROVIDERS</a:t>
            </a:r>
          </a:p>
        </p:txBody>
      </p:sp>
      <p:sp>
        <p:nvSpPr>
          <p:cNvPr id="24" name="TextBox 19">
            <a:extLst>
              <a:ext uri="{FF2B5EF4-FFF2-40B4-BE49-F238E27FC236}">
                <a16:creationId xmlns:a16="http://schemas.microsoft.com/office/drawing/2014/main" id="{60459819-B40A-4947-8377-D46A1B6A059F}"/>
              </a:ext>
            </a:extLst>
          </p:cNvPr>
          <p:cNvSpPr txBox="1"/>
          <p:nvPr/>
        </p:nvSpPr>
        <p:spPr>
          <a:xfrm>
            <a:off x="497946" y="5461273"/>
            <a:ext cx="3503057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Lato Light" charset="0"/>
                <a:cs typeface="Lato Light" charset="0"/>
              </a:rPr>
              <a:t>Provider Healthcare Trends</a:t>
            </a:r>
          </a:p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Lato Light" charset="0"/>
                <a:cs typeface="Lato Light" charset="0"/>
              </a:rPr>
              <a:t>Process, Practice, Performance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Lato Light" charset="0"/>
              <a:cs typeface="Lato Light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A30DBABA-0106-4211-98A7-A29B338E24C1}"/>
              </a:ext>
            </a:extLst>
          </p:cNvPr>
          <p:cNvPicPr>
            <a:picLocks noGrp="1"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3898" y="1324633"/>
            <a:ext cx="3503058" cy="3105224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0A6449"/>
            </a:solidFill>
          </a:ln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DA461434-96F8-431A-913A-5058415D79E1}"/>
              </a:ext>
            </a:extLst>
          </p:cNvPr>
          <p:cNvSpPr/>
          <p:nvPr/>
        </p:nvSpPr>
        <p:spPr>
          <a:xfrm>
            <a:off x="4335125" y="4533900"/>
            <a:ext cx="3521752" cy="1825561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extBox 18">
            <a:extLst>
              <a:ext uri="{FF2B5EF4-FFF2-40B4-BE49-F238E27FC236}">
                <a16:creationId xmlns:a16="http://schemas.microsoft.com/office/drawing/2014/main" id="{0B6F24AE-35CD-4916-B2E0-C6236F8A4859}"/>
              </a:ext>
            </a:extLst>
          </p:cNvPr>
          <p:cNvSpPr txBox="1"/>
          <p:nvPr/>
        </p:nvSpPr>
        <p:spPr>
          <a:xfrm>
            <a:off x="4431378" y="4566211"/>
            <a:ext cx="3521752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1" b="1" i="0" u="none" strike="noStrike" kern="1200" cap="none" spc="450" normalizeH="0" baseline="0" noProof="0" dirty="0">
                <a:ln>
                  <a:noFill/>
                </a:ln>
                <a:solidFill>
                  <a:srgbClr val="77B94B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02. </a:t>
            </a:r>
          </a:p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1" b="1" i="0" u="none" strike="noStrike" kern="1200" cap="none" spc="4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PAYERS</a:t>
            </a:r>
          </a:p>
        </p:txBody>
      </p:sp>
      <p:sp>
        <p:nvSpPr>
          <p:cNvPr id="39" name="TextBox 19">
            <a:extLst>
              <a:ext uri="{FF2B5EF4-FFF2-40B4-BE49-F238E27FC236}">
                <a16:creationId xmlns:a16="http://schemas.microsoft.com/office/drawing/2014/main" id="{9D984FD4-B4CB-4B70-9BEF-59736FBBE1DE}"/>
              </a:ext>
            </a:extLst>
          </p:cNvPr>
          <p:cNvSpPr txBox="1"/>
          <p:nvPr/>
        </p:nvSpPr>
        <p:spPr>
          <a:xfrm>
            <a:off x="4335124" y="5461273"/>
            <a:ext cx="3532836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8590" marR="0" lvl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Lato Light" charset="0"/>
                <a:cs typeface="Lato Light" charset="0"/>
              </a:rPr>
              <a:t>Payer Healthcare Trends</a:t>
            </a:r>
          </a:p>
          <a:p>
            <a:pPr marL="148590" marR="0" lvl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Lato Light" charset="0"/>
                <a:cs typeface="Lato Light" charset="0"/>
              </a:rPr>
              <a:t>Maximizing Relationship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Lato Light" charset="0"/>
              <a:cs typeface="Lato Light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243878B-DECA-4C18-B86E-6A49275FFEE3}"/>
              </a:ext>
            </a:extLst>
          </p:cNvPr>
          <p:cNvSpPr/>
          <p:nvPr/>
        </p:nvSpPr>
        <p:spPr>
          <a:xfrm>
            <a:off x="8215415" y="4550055"/>
            <a:ext cx="3521752" cy="179325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1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TextBox 18">
            <a:extLst>
              <a:ext uri="{FF2B5EF4-FFF2-40B4-BE49-F238E27FC236}">
                <a16:creationId xmlns:a16="http://schemas.microsoft.com/office/drawing/2014/main" id="{1555094A-F4D2-4B9C-B4A2-DF35CF2ECFBD}"/>
              </a:ext>
            </a:extLst>
          </p:cNvPr>
          <p:cNvSpPr txBox="1"/>
          <p:nvPr/>
        </p:nvSpPr>
        <p:spPr>
          <a:xfrm>
            <a:off x="8311668" y="4567402"/>
            <a:ext cx="3559140" cy="831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1" b="1" i="0" u="none" strike="noStrike" kern="1200" cap="none" spc="450" normalizeH="0" baseline="0" noProof="0" dirty="0">
                <a:ln>
                  <a:noFill/>
                </a:ln>
                <a:solidFill>
                  <a:srgbClr val="77B94B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03. </a:t>
            </a:r>
          </a:p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1" b="1" i="0" u="none" strike="noStrike" kern="1200" cap="none" spc="45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PATIENTS</a:t>
            </a:r>
          </a:p>
        </p:txBody>
      </p:sp>
      <p:sp>
        <p:nvSpPr>
          <p:cNvPr id="43" name="TextBox 19">
            <a:extLst>
              <a:ext uri="{FF2B5EF4-FFF2-40B4-BE49-F238E27FC236}">
                <a16:creationId xmlns:a16="http://schemas.microsoft.com/office/drawing/2014/main" id="{07F9250F-63C7-41E4-A122-9E7589A470DF}"/>
              </a:ext>
            </a:extLst>
          </p:cNvPr>
          <p:cNvSpPr txBox="1"/>
          <p:nvPr/>
        </p:nvSpPr>
        <p:spPr>
          <a:xfrm>
            <a:off x="8214820" y="5461274"/>
            <a:ext cx="3510669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8590" marR="0" lvl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Lato Light" charset="0"/>
                <a:cs typeface="Lato Light" charset="0"/>
              </a:rPr>
              <a:t>Patient Healthcare Trends</a:t>
            </a:r>
          </a:p>
          <a:p>
            <a:pPr marL="148590" marR="0" lvl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Lato Light" charset="0"/>
                <a:cs typeface="Lato Light" charset="0"/>
              </a:rPr>
              <a:t>Enhancing the Patient Experience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E2C754D9-049C-4416-8F8F-F13CF33B13E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85044" y="1330746"/>
            <a:ext cx="3503058" cy="3129204"/>
          </a:xfrm>
          <a:prstGeom prst="rect">
            <a:avLst/>
          </a:prstGeom>
          <a:ln>
            <a:solidFill>
              <a:srgbClr val="0A6449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FAC0CCC-001A-4166-8A46-1A11E1C94F9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6207" y="1324633"/>
            <a:ext cx="3521753" cy="3105224"/>
          </a:xfrm>
          <a:prstGeom prst="rect">
            <a:avLst/>
          </a:prstGeom>
          <a:ln>
            <a:solidFill>
              <a:srgbClr val="0A6449"/>
            </a:solidFill>
          </a:ln>
        </p:spPr>
      </p:pic>
    </p:spTree>
    <p:extLst>
      <p:ext uri="{BB962C8B-B14F-4D97-AF65-F5344CB8AC3E}">
        <p14:creationId xmlns:p14="http://schemas.microsoft.com/office/powerpoint/2010/main" val="10029017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82C4C85-4B29-4605-895B-57108A9D7EC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A6449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A12272-BA2C-4FDE-A5F0-54717FCB6FCD}"/>
              </a:ext>
            </a:extLst>
          </p:cNvPr>
          <p:cNvSpPr txBox="1"/>
          <p:nvPr/>
        </p:nvSpPr>
        <p:spPr>
          <a:xfrm>
            <a:off x="0" y="2039171"/>
            <a:ext cx="12192000" cy="2608217"/>
          </a:xfrm>
          <a:prstGeom prst="rect">
            <a:avLst/>
          </a:prstGeom>
          <a:noFill/>
        </p:spPr>
        <p:txBody>
          <a:bodyPr wrap="square" lIns="45708" tIns="22853" rIns="45708" bIns="22853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500" normalizeH="0" baseline="0" noProof="0" dirty="0">
                <a:ln>
                  <a:noFill/>
                </a:ln>
                <a:solidFill>
                  <a:srgbClr val="77B94B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01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5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Montserrat" charset="0"/>
              <a:cs typeface="Poppins SemiBold" panose="02000000000000000000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5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PROVIDERS</a:t>
            </a:r>
          </a:p>
        </p:txBody>
      </p:sp>
    </p:spTree>
    <p:extLst>
      <p:ext uri="{BB962C8B-B14F-4D97-AF65-F5344CB8AC3E}">
        <p14:creationId xmlns:p14="http://schemas.microsoft.com/office/powerpoint/2010/main" val="1005084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Academy">
            <a:extLst>
              <a:ext uri="{FF2B5EF4-FFF2-40B4-BE49-F238E27FC236}">
                <a16:creationId xmlns:a16="http://schemas.microsoft.com/office/drawing/2014/main" id="{FE77DB5B-15D7-4785-ABE2-D021B37364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7896" y="5443817"/>
            <a:ext cx="1477261" cy="263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15">
            <a:extLst>
              <a:ext uri="{FF2B5EF4-FFF2-40B4-BE49-F238E27FC236}">
                <a16:creationId xmlns:a16="http://schemas.microsoft.com/office/drawing/2014/main" id="{06D01B0C-A11D-40B1-9C22-BC06CCDA5DC7}"/>
              </a:ext>
            </a:extLst>
          </p:cNvPr>
          <p:cNvSpPr txBox="1"/>
          <p:nvPr/>
        </p:nvSpPr>
        <p:spPr>
          <a:xfrm>
            <a:off x="0" y="540660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Provider Trends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C59D4A49-F51D-4C4C-9D28-CB78D7AAA77E}"/>
              </a:ext>
            </a:extLst>
          </p:cNvPr>
          <p:cNvSpPr txBox="1"/>
          <p:nvPr/>
        </p:nvSpPr>
        <p:spPr>
          <a:xfrm>
            <a:off x="212611" y="2000988"/>
            <a:ext cx="4181751" cy="385862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Vertical Integration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D5928833-9686-4A2B-A51F-0AD8E1D8DFBA}"/>
              </a:ext>
            </a:extLst>
          </p:cNvPr>
          <p:cNvSpPr txBox="1"/>
          <p:nvPr/>
        </p:nvSpPr>
        <p:spPr>
          <a:xfrm>
            <a:off x="10787159" y="2027882"/>
            <a:ext cx="700497" cy="276999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l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94%</a:t>
            </a:r>
          </a:p>
        </p:txBody>
      </p:sp>
      <p:sp>
        <p:nvSpPr>
          <p:cNvPr id="105" name="Rounded Rectangle 17">
            <a:extLst>
              <a:ext uri="{FF2B5EF4-FFF2-40B4-BE49-F238E27FC236}">
                <a16:creationId xmlns:a16="http://schemas.microsoft.com/office/drawing/2014/main" id="{40482159-1BCB-4F5C-AA5A-7D14C13C640B}"/>
              </a:ext>
            </a:extLst>
          </p:cNvPr>
          <p:cNvSpPr/>
          <p:nvPr/>
        </p:nvSpPr>
        <p:spPr>
          <a:xfrm>
            <a:off x="4761174" y="2107987"/>
            <a:ext cx="5917570" cy="133227"/>
          </a:xfrm>
          <a:prstGeom prst="roundRect">
            <a:avLst>
              <a:gd name="adj" fmla="val 50000"/>
            </a:avLst>
          </a:prstGeom>
          <a:solidFill>
            <a:srgbClr val="77B94B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A6449"/>
              </a:solidFill>
              <a:effectLst/>
              <a:uLnTx/>
              <a:uFillTx/>
              <a:latin typeface="Roboto Light"/>
              <a:ea typeface="+mn-ea"/>
              <a:cs typeface="Roboto Light"/>
            </a:endParaRPr>
          </a:p>
        </p:txBody>
      </p:sp>
      <p:sp>
        <p:nvSpPr>
          <p:cNvPr id="106" name="Rounded Rectangle 17">
            <a:extLst>
              <a:ext uri="{FF2B5EF4-FFF2-40B4-BE49-F238E27FC236}">
                <a16:creationId xmlns:a16="http://schemas.microsoft.com/office/drawing/2014/main" id="{287BFF85-0E15-47C1-842D-4122121AFBCD}"/>
              </a:ext>
            </a:extLst>
          </p:cNvPr>
          <p:cNvSpPr/>
          <p:nvPr/>
        </p:nvSpPr>
        <p:spPr>
          <a:xfrm>
            <a:off x="4761174" y="2586628"/>
            <a:ext cx="4328978" cy="133227"/>
          </a:xfrm>
          <a:prstGeom prst="roundRect">
            <a:avLst>
              <a:gd name="adj" fmla="val 50000"/>
            </a:avLst>
          </a:prstGeom>
          <a:solidFill>
            <a:srgbClr val="77B94B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A6449"/>
              </a:solidFill>
              <a:effectLst/>
              <a:uLnTx/>
              <a:uFillTx/>
              <a:latin typeface="Roboto Light"/>
              <a:ea typeface="+mn-ea"/>
              <a:cs typeface="Roboto Light"/>
            </a:endParaRPr>
          </a:p>
        </p:txBody>
      </p:sp>
      <p:sp>
        <p:nvSpPr>
          <p:cNvPr id="107" name="Rounded Rectangle 17">
            <a:extLst>
              <a:ext uri="{FF2B5EF4-FFF2-40B4-BE49-F238E27FC236}">
                <a16:creationId xmlns:a16="http://schemas.microsoft.com/office/drawing/2014/main" id="{05E240EE-9A4D-4849-B146-BF0E3BC4C54A}"/>
              </a:ext>
            </a:extLst>
          </p:cNvPr>
          <p:cNvSpPr/>
          <p:nvPr/>
        </p:nvSpPr>
        <p:spPr>
          <a:xfrm>
            <a:off x="4761173" y="3065494"/>
            <a:ext cx="3967237" cy="133227"/>
          </a:xfrm>
          <a:prstGeom prst="roundRect">
            <a:avLst>
              <a:gd name="adj" fmla="val 50000"/>
            </a:avLst>
          </a:prstGeom>
          <a:solidFill>
            <a:srgbClr val="77B94B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A6449"/>
              </a:solidFill>
              <a:effectLst/>
              <a:uLnTx/>
              <a:uFillTx/>
              <a:latin typeface="Roboto Light"/>
              <a:ea typeface="+mn-ea"/>
              <a:cs typeface="Roboto Light"/>
            </a:endParaRPr>
          </a:p>
        </p:txBody>
      </p:sp>
      <p:sp>
        <p:nvSpPr>
          <p:cNvPr id="108" name="Rounded Rectangle 17">
            <a:extLst>
              <a:ext uri="{FF2B5EF4-FFF2-40B4-BE49-F238E27FC236}">
                <a16:creationId xmlns:a16="http://schemas.microsoft.com/office/drawing/2014/main" id="{F310E805-7918-4B69-9BD4-76CB50838CDD}"/>
              </a:ext>
            </a:extLst>
          </p:cNvPr>
          <p:cNvSpPr/>
          <p:nvPr/>
        </p:nvSpPr>
        <p:spPr>
          <a:xfrm>
            <a:off x="4757138" y="3542546"/>
            <a:ext cx="2001795" cy="133227"/>
          </a:xfrm>
          <a:prstGeom prst="roundRect">
            <a:avLst>
              <a:gd name="adj" fmla="val 50000"/>
            </a:avLst>
          </a:prstGeom>
          <a:solidFill>
            <a:srgbClr val="77B94B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A6449"/>
              </a:solidFill>
              <a:effectLst/>
              <a:uLnTx/>
              <a:uFillTx/>
              <a:latin typeface="Roboto Light"/>
              <a:ea typeface="+mn-ea"/>
              <a:cs typeface="Roboto Light"/>
            </a:endParaRPr>
          </a:p>
        </p:txBody>
      </p:sp>
      <p:sp>
        <p:nvSpPr>
          <p:cNvPr id="109" name="Rounded Rectangle 17">
            <a:extLst>
              <a:ext uri="{FF2B5EF4-FFF2-40B4-BE49-F238E27FC236}">
                <a16:creationId xmlns:a16="http://schemas.microsoft.com/office/drawing/2014/main" id="{5CE33004-5686-4502-AEDC-4E2205E71AAE}"/>
              </a:ext>
            </a:extLst>
          </p:cNvPr>
          <p:cNvSpPr/>
          <p:nvPr/>
        </p:nvSpPr>
        <p:spPr>
          <a:xfrm>
            <a:off x="4757138" y="4017250"/>
            <a:ext cx="1624982" cy="133227"/>
          </a:xfrm>
          <a:prstGeom prst="roundRect">
            <a:avLst>
              <a:gd name="adj" fmla="val 50000"/>
            </a:avLst>
          </a:prstGeom>
          <a:solidFill>
            <a:srgbClr val="77B94B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A6449"/>
              </a:solidFill>
              <a:effectLst/>
              <a:uLnTx/>
              <a:uFillTx/>
              <a:latin typeface="Roboto Light"/>
              <a:ea typeface="+mn-ea"/>
              <a:cs typeface="Roboto Light"/>
            </a:endParaRPr>
          </a:p>
        </p:txBody>
      </p:sp>
      <p:sp>
        <p:nvSpPr>
          <p:cNvPr id="110" name="Rounded Rectangle 17">
            <a:extLst>
              <a:ext uri="{FF2B5EF4-FFF2-40B4-BE49-F238E27FC236}">
                <a16:creationId xmlns:a16="http://schemas.microsoft.com/office/drawing/2014/main" id="{C4CFA736-A354-4A0B-BD1D-32CA52A382D0}"/>
              </a:ext>
            </a:extLst>
          </p:cNvPr>
          <p:cNvSpPr/>
          <p:nvPr/>
        </p:nvSpPr>
        <p:spPr>
          <a:xfrm>
            <a:off x="4757139" y="4496463"/>
            <a:ext cx="800944" cy="133227"/>
          </a:xfrm>
          <a:prstGeom prst="roundRect">
            <a:avLst>
              <a:gd name="adj" fmla="val 50000"/>
            </a:avLst>
          </a:prstGeom>
          <a:solidFill>
            <a:srgbClr val="77B94B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A6449"/>
              </a:solidFill>
              <a:effectLst/>
              <a:uLnTx/>
              <a:uFillTx/>
              <a:latin typeface="Roboto Light"/>
              <a:ea typeface="+mn-ea"/>
              <a:cs typeface="Roboto Light"/>
            </a:endParaRPr>
          </a:p>
        </p:txBody>
      </p:sp>
      <p:sp>
        <p:nvSpPr>
          <p:cNvPr id="111" name="Rounded Rectangle 17">
            <a:extLst>
              <a:ext uri="{FF2B5EF4-FFF2-40B4-BE49-F238E27FC236}">
                <a16:creationId xmlns:a16="http://schemas.microsoft.com/office/drawing/2014/main" id="{695DA7AC-B13D-4398-8A69-F340AE6332B1}"/>
              </a:ext>
            </a:extLst>
          </p:cNvPr>
          <p:cNvSpPr/>
          <p:nvPr/>
        </p:nvSpPr>
        <p:spPr>
          <a:xfrm>
            <a:off x="4757138" y="4969414"/>
            <a:ext cx="440276" cy="133227"/>
          </a:xfrm>
          <a:prstGeom prst="roundRect">
            <a:avLst>
              <a:gd name="adj" fmla="val 50000"/>
            </a:avLst>
          </a:prstGeom>
          <a:solidFill>
            <a:srgbClr val="77B94B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A6449"/>
              </a:solidFill>
              <a:effectLst/>
              <a:uLnTx/>
              <a:uFillTx/>
              <a:latin typeface="Roboto Light"/>
              <a:ea typeface="+mn-ea"/>
              <a:cs typeface="Roboto Light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FDA51545-B3F6-4863-999D-E56C38EB570E}"/>
              </a:ext>
            </a:extLst>
          </p:cNvPr>
          <p:cNvSpPr txBox="1"/>
          <p:nvPr/>
        </p:nvSpPr>
        <p:spPr>
          <a:xfrm>
            <a:off x="203995" y="2478448"/>
            <a:ext cx="4190367" cy="385862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Technology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35F78C7-BE97-4B27-9A45-A9F6607D7580}"/>
              </a:ext>
            </a:extLst>
          </p:cNvPr>
          <p:cNvSpPr txBox="1"/>
          <p:nvPr/>
        </p:nvSpPr>
        <p:spPr>
          <a:xfrm>
            <a:off x="203995" y="2958848"/>
            <a:ext cx="4190367" cy="385862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Entry of Non-Traditional Players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D91E3B19-C867-4A89-8F2A-B8A16F2548FE}"/>
              </a:ext>
            </a:extLst>
          </p:cNvPr>
          <p:cNvSpPr txBox="1"/>
          <p:nvPr/>
        </p:nvSpPr>
        <p:spPr>
          <a:xfrm>
            <a:off x="203996" y="3431221"/>
            <a:ext cx="4190366" cy="385862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Employer Activism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66EC1CFB-5870-460A-8CBE-CE6ECA46156E}"/>
              </a:ext>
            </a:extLst>
          </p:cNvPr>
          <p:cNvSpPr txBox="1"/>
          <p:nvPr/>
        </p:nvSpPr>
        <p:spPr>
          <a:xfrm>
            <a:off x="203996" y="3911777"/>
            <a:ext cx="4190366" cy="385862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Health System M &amp; A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600554B-2559-4C28-AC1C-80ABCD229EF6}"/>
              </a:ext>
            </a:extLst>
          </p:cNvPr>
          <p:cNvSpPr txBox="1"/>
          <p:nvPr/>
        </p:nvSpPr>
        <p:spPr>
          <a:xfrm>
            <a:off x="203996" y="4391019"/>
            <a:ext cx="4190366" cy="385862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Emergence of Alternative Model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B32BB073-B522-44FA-8A52-9BDF1DA18069}"/>
              </a:ext>
            </a:extLst>
          </p:cNvPr>
          <p:cNvSpPr txBox="1"/>
          <p:nvPr/>
        </p:nvSpPr>
        <p:spPr>
          <a:xfrm>
            <a:off x="103713" y="4862063"/>
            <a:ext cx="4290649" cy="385862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Other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206FFB51-51EC-4FEB-A2BB-01B9DA7A9132}"/>
              </a:ext>
            </a:extLst>
          </p:cNvPr>
          <p:cNvSpPr txBox="1"/>
          <p:nvPr/>
        </p:nvSpPr>
        <p:spPr>
          <a:xfrm>
            <a:off x="9198371" y="2510435"/>
            <a:ext cx="721131" cy="276999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l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69%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E9A1417-FD8C-454F-87D2-D20DD34EDE36}"/>
              </a:ext>
            </a:extLst>
          </p:cNvPr>
          <p:cNvSpPr txBox="1"/>
          <p:nvPr/>
        </p:nvSpPr>
        <p:spPr>
          <a:xfrm>
            <a:off x="8821608" y="2994348"/>
            <a:ext cx="673489" cy="276999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l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63%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DA550F96-068D-42BC-847B-8E66A36BC648}"/>
              </a:ext>
            </a:extLst>
          </p:cNvPr>
          <p:cNvSpPr txBox="1"/>
          <p:nvPr/>
        </p:nvSpPr>
        <p:spPr>
          <a:xfrm>
            <a:off x="6850947" y="3469266"/>
            <a:ext cx="660909" cy="276999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l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31%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0181B1AA-6827-4A5A-B9C8-16427DB02072}"/>
              </a:ext>
            </a:extLst>
          </p:cNvPr>
          <p:cNvSpPr txBox="1"/>
          <p:nvPr/>
        </p:nvSpPr>
        <p:spPr>
          <a:xfrm>
            <a:off x="6488695" y="3938671"/>
            <a:ext cx="652585" cy="276999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l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25%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36DAFD8-E42D-4E83-9FC4-B3C878AFBA12}"/>
              </a:ext>
            </a:extLst>
          </p:cNvPr>
          <p:cNvSpPr txBox="1"/>
          <p:nvPr/>
        </p:nvSpPr>
        <p:spPr>
          <a:xfrm>
            <a:off x="5649984" y="4403709"/>
            <a:ext cx="667259" cy="276999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l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13%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26F76CC8-6303-44B7-A315-0F6D68B0AF4E}"/>
              </a:ext>
            </a:extLst>
          </p:cNvPr>
          <p:cNvSpPr txBox="1"/>
          <p:nvPr/>
        </p:nvSpPr>
        <p:spPr>
          <a:xfrm>
            <a:off x="5318975" y="4890334"/>
            <a:ext cx="569926" cy="276999"/>
          </a:xfrm>
          <a:prstGeom prst="rect">
            <a:avLst/>
          </a:prstGeom>
          <a:noFill/>
        </p:spPr>
        <p:txBody>
          <a:bodyPr wrap="square" lIns="91420" tIns="45710" rIns="91420" bIns="45710" rtlCol="0">
            <a:noAutofit/>
          </a:bodyPr>
          <a:lstStyle/>
          <a:p>
            <a:pPr marL="0" marR="0" lvl="0" indent="0" algn="l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Century Gothic"/>
              </a:rPr>
              <a:t>6%</a:t>
            </a:r>
          </a:p>
        </p:txBody>
      </p:sp>
      <p:sp>
        <p:nvSpPr>
          <p:cNvPr id="124" name="Text Placeholder 4">
            <a:extLst>
              <a:ext uri="{FF2B5EF4-FFF2-40B4-BE49-F238E27FC236}">
                <a16:creationId xmlns:a16="http://schemas.microsoft.com/office/drawing/2014/main" id="{4B159411-4B47-40D6-85EF-19DC0307FD82}"/>
              </a:ext>
            </a:extLst>
          </p:cNvPr>
          <p:cNvSpPr txBox="1">
            <a:spLocks/>
          </p:cNvSpPr>
          <p:nvPr/>
        </p:nvSpPr>
        <p:spPr>
          <a:xfrm>
            <a:off x="4730243" y="5454131"/>
            <a:ext cx="6363747" cy="262110"/>
          </a:xfrm>
          <a:prstGeom prst="rect">
            <a:avLst/>
          </a:prstGeom>
        </p:spPr>
        <p:txBody>
          <a:bodyPr vert="horz" lIns="91240" tIns="45620" rIns="91240" bIns="45620" rtlCol="0">
            <a:noAutofit/>
          </a:bodyPr>
          <a:lstStyle>
            <a:lvl1pPr marL="0" indent="0" algn="l" defTabSz="456210" rtl="0" eaLnBrk="1" latinLnBrk="0" hangingPunct="1">
              <a:spcBef>
                <a:spcPct val="20000"/>
              </a:spcBef>
              <a:buFont typeface="Arial"/>
              <a:buNone/>
              <a:defRPr sz="900" kern="400" spc="100" baseline="0">
                <a:solidFill>
                  <a:schemeClr val="accent5"/>
                </a:solidFill>
                <a:latin typeface="+mj-lt"/>
                <a:ea typeface="+mn-ea"/>
                <a:cs typeface="Roboto Light"/>
              </a:defRPr>
            </a:lvl1pPr>
            <a:lvl2pPr marL="456210" indent="0" algn="l" defTabSz="456210" rtl="0" eaLnBrk="1" latinLnBrk="0" hangingPunct="1">
              <a:spcBef>
                <a:spcPct val="20000"/>
              </a:spcBef>
              <a:buFont typeface="Arial"/>
              <a:buNone/>
              <a:defRPr sz="1300" kern="1200">
                <a:solidFill>
                  <a:schemeClr val="accent5"/>
                </a:solidFill>
                <a:latin typeface="+mn-lt"/>
                <a:ea typeface="+mn-ea"/>
                <a:cs typeface="Roboto Light"/>
              </a:defRPr>
            </a:lvl2pPr>
            <a:lvl3pPr marL="912420" indent="0" algn="l" defTabSz="456210" rtl="0" eaLnBrk="1" latinLnBrk="0" hangingPunct="1">
              <a:spcBef>
                <a:spcPct val="20000"/>
              </a:spcBef>
              <a:buFont typeface="Arial"/>
              <a:buNone/>
              <a:defRPr sz="1000" kern="1200">
                <a:solidFill>
                  <a:schemeClr val="accent5"/>
                </a:solidFill>
                <a:latin typeface="+mn-lt"/>
                <a:ea typeface="+mn-ea"/>
                <a:cs typeface="Roboto Light"/>
              </a:defRPr>
            </a:lvl3pPr>
            <a:lvl4pPr marL="1368631" indent="0" algn="l" defTabSz="456210" rtl="0" eaLnBrk="1" latinLnBrk="0" hangingPunct="1">
              <a:spcBef>
                <a:spcPct val="20000"/>
              </a:spcBef>
              <a:buFont typeface="Arial"/>
              <a:buNone/>
              <a:defRPr sz="700" kern="1200">
                <a:solidFill>
                  <a:schemeClr val="accent5"/>
                </a:solidFill>
                <a:latin typeface="+mn-lt"/>
                <a:ea typeface="+mn-ea"/>
                <a:cs typeface="Roboto Light"/>
              </a:defRPr>
            </a:lvl4pPr>
            <a:lvl5pPr marL="1824840" indent="0" algn="l" defTabSz="456210" rtl="0" eaLnBrk="1" latinLnBrk="0" hangingPunct="1">
              <a:spcBef>
                <a:spcPct val="20000"/>
              </a:spcBef>
              <a:buFont typeface="Arial"/>
              <a:buNone/>
              <a:defRPr sz="700" kern="1200">
                <a:solidFill>
                  <a:schemeClr val="accent5"/>
                </a:solidFill>
                <a:latin typeface="+mn-lt"/>
                <a:ea typeface="+mn-ea"/>
                <a:cs typeface="Roboto Light"/>
              </a:defRPr>
            </a:lvl5pPr>
            <a:lvl6pPr marL="2509156" indent="-228105" algn="l" defTabSz="45621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5366" indent="-228105" algn="l" defTabSz="45621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1577" indent="-228105" algn="l" defTabSz="45621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7788" indent="-228105" algn="l" defTabSz="45621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4562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400" cap="none" spc="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cs typeface="Poppins Light" panose="02000000000000000000" pitchFamily="2" charset="0"/>
              </a:rPr>
              <a:t>PERCENT OF HEALTH SYSTEM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EDCCC8-9F1E-364E-BE5A-A36CB8891FA7}"/>
              </a:ext>
            </a:extLst>
          </p:cNvPr>
          <p:cNvCxnSpPr>
            <a:cxnSpLocks/>
          </p:cNvCxnSpPr>
          <p:nvPr/>
        </p:nvCxnSpPr>
        <p:spPr>
          <a:xfrm>
            <a:off x="4509247" y="2000988"/>
            <a:ext cx="0" cy="3835035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557A50A-8F04-5F4C-96F8-FF41534EB9DA}"/>
              </a:ext>
            </a:extLst>
          </p:cNvPr>
          <p:cNvCxnSpPr>
            <a:cxnSpLocks/>
          </p:cNvCxnSpPr>
          <p:nvPr/>
        </p:nvCxnSpPr>
        <p:spPr>
          <a:xfrm>
            <a:off x="833718" y="1600199"/>
            <a:ext cx="1065393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0958281-6883-834E-A50D-7D5862A891C2}"/>
              </a:ext>
            </a:extLst>
          </p:cNvPr>
          <p:cNvCxnSpPr>
            <a:cxnSpLocks/>
          </p:cNvCxnSpPr>
          <p:nvPr/>
        </p:nvCxnSpPr>
        <p:spPr>
          <a:xfrm>
            <a:off x="833718" y="6131857"/>
            <a:ext cx="10653938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77196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5">
            <a:extLst>
              <a:ext uri="{FF2B5EF4-FFF2-40B4-BE49-F238E27FC236}">
                <a16:creationId xmlns:a16="http://schemas.microsoft.com/office/drawing/2014/main" id="{B445091A-3776-4A07-89A5-1A3259B944D7}"/>
              </a:ext>
            </a:extLst>
          </p:cNvPr>
          <p:cNvSpPr txBox="1"/>
          <p:nvPr/>
        </p:nvSpPr>
        <p:spPr>
          <a:xfrm>
            <a:off x="0" y="534785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Provider Trend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0FC00EE-1ADC-47FC-AAD1-A89058E23797}"/>
              </a:ext>
            </a:extLst>
          </p:cNvPr>
          <p:cNvSpPr txBox="1"/>
          <p:nvPr/>
        </p:nvSpPr>
        <p:spPr>
          <a:xfrm>
            <a:off x="481584" y="4146925"/>
            <a:ext cx="2663929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  <a:t>Lower Reimbursement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  <a:t>Rat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7D5243-A7B7-4A02-89FB-DA967C636FD0}"/>
              </a:ext>
            </a:extLst>
          </p:cNvPr>
          <p:cNvSpPr txBox="1"/>
          <p:nvPr/>
        </p:nvSpPr>
        <p:spPr>
          <a:xfrm>
            <a:off x="2947553" y="4146925"/>
            <a:ext cx="1966152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  <a:t>Significant Days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  <a:t>in Cash Flow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0B67F6-8B97-4BB1-948D-613FCCDDAC88}"/>
              </a:ext>
            </a:extLst>
          </p:cNvPr>
          <p:cNvSpPr txBox="1"/>
          <p:nvPr/>
        </p:nvSpPr>
        <p:spPr>
          <a:xfrm>
            <a:off x="4927401" y="4124715"/>
            <a:ext cx="257220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  <a:t>Changing where and how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  <a:t>services are provid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438DC2F-69A3-434F-A0CC-ACB7FC8ADD97}"/>
              </a:ext>
            </a:extLst>
          </p:cNvPr>
          <p:cNvSpPr txBox="1"/>
          <p:nvPr/>
        </p:nvSpPr>
        <p:spPr>
          <a:xfrm>
            <a:off x="7335897" y="4124715"/>
            <a:ext cx="2235199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  <a:t>Shifting EFT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  <a:t>Mandates and Fe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E6D2D3-A2A1-4103-B230-F331C73AECEF}"/>
              </a:ext>
            </a:extLst>
          </p:cNvPr>
          <p:cNvSpPr txBox="1"/>
          <p:nvPr/>
        </p:nvSpPr>
        <p:spPr>
          <a:xfrm>
            <a:off x="9525442" y="4124715"/>
            <a:ext cx="2235199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" panose="02000000000000000000" pitchFamily="2" charset="0"/>
              </a:rPr>
              <a:t>Changing the Remittance Process</a:t>
            </a:r>
          </a:p>
        </p:txBody>
      </p:sp>
      <p:sp>
        <p:nvSpPr>
          <p:cNvPr id="27" name="Shape 2623">
            <a:extLst>
              <a:ext uri="{FF2B5EF4-FFF2-40B4-BE49-F238E27FC236}">
                <a16:creationId xmlns:a16="http://schemas.microsoft.com/office/drawing/2014/main" id="{A5D899BE-196C-438E-9193-0FAB0DF0FEC8}"/>
              </a:ext>
            </a:extLst>
          </p:cNvPr>
          <p:cNvSpPr>
            <a:spLocks noChangeAspect="1"/>
          </p:cNvSpPr>
          <p:nvPr/>
        </p:nvSpPr>
        <p:spPr>
          <a:xfrm>
            <a:off x="3736681" y="3065733"/>
            <a:ext cx="387896" cy="38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364" y="13255"/>
                </a:moveTo>
                <a:lnTo>
                  <a:pt x="5400" y="13255"/>
                </a:lnTo>
                <a:lnTo>
                  <a:pt x="5400" y="15218"/>
                </a:lnTo>
                <a:lnTo>
                  <a:pt x="7364" y="15218"/>
                </a:lnTo>
                <a:cubicBezTo>
                  <a:pt x="7364" y="15218"/>
                  <a:pt x="7364" y="13255"/>
                  <a:pt x="7364" y="13255"/>
                </a:cubicBezTo>
                <a:close/>
                <a:moveTo>
                  <a:pt x="7364" y="16691"/>
                </a:moveTo>
                <a:lnTo>
                  <a:pt x="5400" y="16691"/>
                </a:lnTo>
                <a:lnTo>
                  <a:pt x="5400" y="18655"/>
                </a:lnTo>
                <a:lnTo>
                  <a:pt x="7364" y="18655"/>
                </a:lnTo>
                <a:cubicBezTo>
                  <a:pt x="7364" y="18655"/>
                  <a:pt x="7364" y="16691"/>
                  <a:pt x="7364" y="16691"/>
                </a:cubicBezTo>
                <a:close/>
                <a:moveTo>
                  <a:pt x="7364" y="9818"/>
                </a:moveTo>
                <a:lnTo>
                  <a:pt x="5400" y="9818"/>
                </a:lnTo>
                <a:lnTo>
                  <a:pt x="5400" y="11782"/>
                </a:lnTo>
                <a:lnTo>
                  <a:pt x="7364" y="11782"/>
                </a:lnTo>
                <a:cubicBezTo>
                  <a:pt x="7364" y="11782"/>
                  <a:pt x="7364" y="9818"/>
                  <a:pt x="7364" y="9818"/>
                </a:cubicBezTo>
                <a:close/>
                <a:moveTo>
                  <a:pt x="4418" y="16691"/>
                </a:moveTo>
                <a:lnTo>
                  <a:pt x="2455" y="16691"/>
                </a:lnTo>
                <a:lnTo>
                  <a:pt x="2455" y="18655"/>
                </a:lnTo>
                <a:lnTo>
                  <a:pt x="4418" y="18655"/>
                </a:lnTo>
                <a:cubicBezTo>
                  <a:pt x="4418" y="18655"/>
                  <a:pt x="4418" y="16691"/>
                  <a:pt x="4418" y="16691"/>
                </a:cubicBezTo>
                <a:close/>
                <a:moveTo>
                  <a:pt x="20618" y="6873"/>
                </a:moveTo>
                <a:lnTo>
                  <a:pt x="982" y="6873"/>
                </a:lnTo>
                <a:lnTo>
                  <a:pt x="982" y="3928"/>
                </a:lnTo>
                <a:cubicBezTo>
                  <a:pt x="982" y="3385"/>
                  <a:pt x="1422" y="2945"/>
                  <a:pt x="1964" y="2945"/>
                </a:cubicBezTo>
                <a:lnTo>
                  <a:pt x="3927" y="2945"/>
                </a:lnTo>
                <a:lnTo>
                  <a:pt x="3927" y="4418"/>
                </a:lnTo>
                <a:cubicBezTo>
                  <a:pt x="3927" y="4690"/>
                  <a:pt x="4147" y="4909"/>
                  <a:pt x="4418" y="4909"/>
                </a:cubicBezTo>
                <a:cubicBezTo>
                  <a:pt x="4690" y="4909"/>
                  <a:pt x="4909" y="4690"/>
                  <a:pt x="4909" y="4418"/>
                </a:cubicBezTo>
                <a:lnTo>
                  <a:pt x="4909" y="2945"/>
                </a:lnTo>
                <a:lnTo>
                  <a:pt x="16691" y="2945"/>
                </a:lnTo>
                <a:lnTo>
                  <a:pt x="16691" y="4418"/>
                </a:lnTo>
                <a:cubicBezTo>
                  <a:pt x="16691" y="4690"/>
                  <a:pt x="16910" y="4909"/>
                  <a:pt x="17182" y="4909"/>
                </a:cubicBezTo>
                <a:cubicBezTo>
                  <a:pt x="17453" y="4909"/>
                  <a:pt x="17673" y="4690"/>
                  <a:pt x="17673" y="4418"/>
                </a:cubicBezTo>
                <a:lnTo>
                  <a:pt x="17673" y="2945"/>
                </a:lnTo>
                <a:lnTo>
                  <a:pt x="19636" y="2945"/>
                </a:lnTo>
                <a:cubicBezTo>
                  <a:pt x="20178" y="2945"/>
                  <a:pt x="20618" y="3385"/>
                  <a:pt x="20618" y="3928"/>
                </a:cubicBezTo>
                <a:cubicBezTo>
                  <a:pt x="20618" y="3928"/>
                  <a:pt x="20618" y="6873"/>
                  <a:pt x="20618" y="6873"/>
                </a:cubicBezTo>
                <a:close/>
                <a:moveTo>
                  <a:pt x="20618" y="19636"/>
                </a:moveTo>
                <a:cubicBezTo>
                  <a:pt x="20618" y="20178"/>
                  <a:pt x="20178" y="20618"/>
                  <a:pt x="19636" y="20618"/>
                </a:cubicBezTo>
                <a:lnTo>
                  <a:pt x="1964" y="20618"/>
                </a:lnTo>
                <a:cubicBezTo>
                  <a:pt x="1422" y="20618"/>
                  <a:pt x="982" y="20178"/>
                  <a:pt x="982" y="19636"/>
                </a:cubicBezTo>
                <a:lnTo>
                  <a:pt x="982" y="7855"/>
                </a:lnTo>
                <a:lnTo>
                  <a:pt x="20618" y="7855"/>
                </a:lnTo>
                <a:cubicBezTo>
                  <a:pt x="20618" y="7855"/>
                  <a:pt x="20618" y="19636"/>
                  <a:pt x="20618" y="19636"/>
                </a:cubicBezTo>
                <a:close/>
                <a:moveTo>
                  <a:pt x="19636" y="1964"/>
                </a:moveTo>
                <a:lnTo>
                  <a:pt x="17673" y="1964"/>
                </a:lnTo>
                <a:lnTo>
                  <a:pt x="17673" y="491"/>
                </a:lnTo>
                <a:cubicBezTo>
                  <a:pt x="17673" y="220"/>
                  <a:pt x="17453" y="0"/>
                  <a:pt x="17182" y="0"/>
                </a:cubicBezTo>
                <a:cubicBezTo>
                  <a:pt x="16910" y="0"/>
                  <a:pt x="16691" y="220"/>
                  <a:pt x="16691" y="491"/>
                </a:cubicBezTo>
                <a:lnTo>
                  <a:pt x="16691" y="1964"/>
                </a:lnTo>
                <a:lnTo>
                  <a:pt x="4909" y="1964"/>
                </a:lnTo>
                <a:lnTo>
                  <a:pt x="4909" y="491"/>
                </a:lnTo>
                <a:cubicBezTo>
                  <a:pt x="4909" y="220"/>
                  <a:pt x="4690" y="0"/>
                  <a:pt x="4418" y="0"/>
                </a:cubicBezTo>
                <a:cubicBezTo>
                  <a:pt x="4147" y="0"/>
                  <a:pt x="3927" y="220"/>
                  <a:pt x="3927" y="491"/>
                </a:cubicBezTo>
                <a:lnTo>
                  <a:pt x="3927" y="1964"/>
                </a:lnTo>
                <a:lnTo>
                  <a:pt x="1964" y="1964"/>
                </a:lnTo>
                <a:cubicBezTo>
                  <a:pt x="879" y="1964"/>
                  <a:pt x="0" y="2843"/>
                  <a:pt x="0" y="3928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3928"/>
                </a:lnTo>
                <a:cubicBezTo>
                  <a:pt x="21600" y="2843"/>
                  <a:pt x="20721" y="1964"/>
                  <a:pt x="19636" y="1964"/>
                </a:cubicBezTo>
                <a:moveTo>
                  <a:pt x="4418" y="9818"/>
                </a:moveTo>
                <a:lnTo>
                  <a:pt x="2455" y="9818"/>
                </a:lnTo>
                <a:lnTo>
                  <a:pt x="2455" y="11782"/>
                </a:lnTo>
                <a:lnTo>
                  <a:pt x="4418" y="11782"/>
                </a:lnTo>
                <a:cubicBezTo>
                  <a:pt x="4418" y="11782"/>
                  <a:pt x="4418" y="9818"/>
                  <a:pt x="4418" y="9818"/>
                </a:cubicBezTo>
                <a:close/>
                <a:moveTo>
                  <a:pt x="4418" y="13255"/>
                </a:moveTo>
                <a:lnTo>
                  <a:pt x="2455" y="13255"/>
                </a:lnTo>
                <a:lnTo>
                  <a:pt x="2455" y="15218"/>
                </a:lnTo>
                <a:lnTo>
                  <a:pt x="4418" y="15218"/>
                </a:lnTo>
                <a:cubicBezTo>
                  <a:pt x="4418" y="15218"/>
                  <a:pt x="4418" y="13255"/>
                  <a:pt x="4418" y="13255"/>
                </a:cubicBezTo>
                <a:close/>
                <a:moveTo>
                  <a:pt x="10309" y="16691"/>
                </a:moveTo>
                <a:lnTo>
                  <a:pt x="8345" y="16691"/>
                </a:lnTo>
                <a:lnTo>
                  <a:pt x="8345" y="18655"/>
                </a:lnTo>
                <a:lnTo>
                  <a:pt x="10309" y="18655"/>
                </a:lnTo>
                <a:cubicBezTo>
                  <a:pt x="10309" y="18655"/>
                  <a:pt x="10309" y="16691"/>
                  <a:pt x="10309" y="16691"/>
                </a:cubicBezTo>
                <a:close/>
                <a:moveTo>
                  <a:pt x="10309" y="9818"/>
                </a:moveTo>
                <a:lnTo>
                  <a:pt x="8345" y="9818"/>
                </a:lnTo>
                <a:lnTo>
                  <a:pt x="8345" y="11782"/>
                </a:lnTo>
                <a:lnTo>
                  <a:pt x="10309" y="11782"/>
                </a:lnTo>
                <a:cubicBezTo>
                  <a:pt x="10309" y="11782"/>
                  <a:pt x="10309" y="9818"/>
                  <a:pt x="10309" y="9818"/>
                </a:cubicBezTo>
                <a:close/>
                <a:moveTo>
                  <a:pt x="10309" y="13255"/>
                </a:moveTo>
                <a:lnTo>
                  <a:pt x="8345" y="13255"/>
                </a:lnTo>
                <a:lnTo>
                  <a:pt x="8345" y="15218"/>
                </a:lnTo>
                <a:lnTo>
                  <a:pt x="10309" y="15218"/>
                </a:lnTo>
                <a:cubicBezTo>
                  <a:pt x="10309" y="15218"/>
                  <a:pt x="10309" y="13255"/>
                  <a:pt x="10309" y="13255"/>
                </a:cubicBezTo>
                <a:close/>
                <a:moveTo>
                  <a:pt x="19145" y="13255"/>
                </a:moveTo>
                <a:lnTo>
                  <a:pt x="17182" y="13255"/>
                </a:lnTo>
                <a:lnTo>
                  <a:pt x="17182" y="15218"/>
                </a:lnTo>
                <a:lnTo>
                  <a:pt x="19145" y="15218"/>
                </a:lnTo>
                <a:cubicBezTo>
                  <a:pt x="19145" y="15218"/>
                  <a:pt x="19145" y="13255"/>
                  <a:pt x="19145" y="13255"/>
                </a:cubicBezTo>
                <a:close/>
                <a:moveTo>
                  <a:pt x="16200" y="13255"/>
                </a:moveTo>
                <a:lnTo>
                  <a:pt x="14236" y="13255"/>
                </a:lnTo>
                <a:lnTo>
                  <a:pt x="14236" y="15218"/>
                </a:lnTo>
                <a:lnTo>
                  <a:pt x="16200" y="15218"/>
                </a:lnTo>
                <a:cubicBezTo>
                  <a:pt x="16200" y="15218"/>
                  <a:pt x="16200" y="13255"/>
                  <a:pt x="16200" y="13255"/>
                </a:cubicBezTo>
                <a:close/>
                <a:moveTo>
                  <a:pt x="19145" y="9818"/>
                </a:moveTo>
                <a:lnTo>
                  <a:pt x="17182" y="9818"/>
                </a:lnTo>
                <a:lnTo>
                  <a:pt x="17182" y="11782"/>
                </a:lnTo>
                <a:lnTo>
                  <a:pt x="19145" y="11782"/>
                </a:lnTo>
                <a:cubicBezTo>
                  <a:pt x="19145" y="11782"/>
                  <a:pt x="19145" y="9818"/>
                  <a:pt x="19145" y="9818"/>
                </a:cubicBezTo>
                <a:close/>
                <a:moveTo>
                  <a:pt x="16200" y="9818"/>
                </a:moveTo>
                <a:lnTo>
                  <a:pt x="14236" y="9818"/>
                </a:lnTo>
                <a:lnTo>
                  <a:pt x="14236" y="11782"/>
                </a:lnTo>
                <a:lnTo>
                  <a:pt x="16200" y="11782"/>
                </a:lnTo>
                <a:cubicBezTo>
                  <a:pt x="16200" y="11782"/>
                  <a:pt x="16200" y="9818"/>
                  <a:pt x="16200" y="9818"/>
                </a:cubicBezTo>
                <a:close/>
                <a:moveTo>
                  <a:pt x="13255" y="16691"/>
                </a:moveTo>
                <a:lnTo>
                  <a:pt x="11291" y="16691"/>
                </a:lnTo>
                <a:lnTo>
                  <a:pt x="11291" y="18655"/>
                </a:lnTo>
                <a:lnTo>
                  <a:pt x="13255" y="18655"/>
                </a:lnTo>
                <a:cubicBezTo>
                  <a:pt x="13255" y="18655"/>
                  <a:pt x="13255" y="16691"/>
                  <a:pt x="13255" y="16691"/>
                </a:cubicBezTo>
                <a:close/>
                <a:moveTo>
                  <a:pt x="13255" y="9818"/>
                </a:moveTo>
                <a:lnTo>
                  <a:pt x="11291" y="9818"/>
                </a:lnTo>
                <a:lnTo>
                  <a:pt x="11291" y="11782"/>
                </a:lnTo>
                <a:lnTo>
                  <a:pt x="13255" y="11782"/>
                </a:lnTo>
                <a:cubicBezTo>
                  <a:pt x="13255" y="11782"/>
                  <a:pt x="13255" y="9818"/>
                  <a:pt x="13255" y="9818"/>
                </a:cubicBezTo>
                <a:close/>
                <a:moveTo>
                  <a:pt x="13255" y="13255"/>
                </a:moveTo>
                <a:lnTo>
                  <a:pt x="11291" y="13255"/>
                </a:lnTo>
                <a:lnTo>
                  <a:pt x="11291" y="15218"/>
                </a:lnTo>
                <a:lnTo>
                  <a:pt x="13255" y="15218"/>
                </a:lnTo>
                <a:cubicBezTo>
                  <a:pt x="13255" y="15218"/>
                  <a:pt x="13255" y="13255"/>
                  <a:pt x="13255" y="13255"/>
                </a:cubicBezTo>
                <a:close/>
              </a:path>
            </a:pathLst>
          </a:custGeom>
          <a:solidFill>
            <a:schemeClr val="tx1"/>
          </a:solidFill>
          <a:ln w="12700">
            <a:noFill/>
            <a:miter lim="400000"/>
          </a:ln>
        </p:spPr>
        <p:txBody>
          <a:bodyPr lIns="14284" tIns="14284" rIns="14284" bIns="14284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8" name="Shape 2935">
            <a:extLst>
              <a:ext uri="{FF2B5EF4-FFF2-40B4-BE49-F238E27FC236}">
                <a16:creationId xmlns:a16="http://schemas.microsoft.com/office/drawing/2014/main" id="{A4E03C32-9572-4216-9FF0-BF6309344D3F}"/>
              </a:ext>
            </a:extLst>
          </p:cNvPr>
          <p:cNvSpPr>
            <a:spLocks noChangeAspect="1"/>
          </p:cNvSpPr>
          <p:nvPr/>
        </p:nvSpPr>
        <p:spPr>
          <a:xfrm>
            <a:off x="6000195" y="3067128"/>
            <a:ext cx="426621" cy="4265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600" extrusionOk="0">
                <a:moveTo>
                  <a:pt x="6365" y="15409"/>
                </a:moveTo>
                <a:cubicBezTo>
                  <a:pt x="5782" y="14888"/>
                  <a:pt x="4858" y="14006"/>
                  <a:pt x="3935" y="12895"/>
                </a:cubicBezTo>
                <a:cubicBezTo>
                  <a:pt x="2587" y="11273"/>
                  <a:pt x="979" y="8835"/>
                  <a:pt x="979" y="6430"/>
                </a:cubicBezTo>
                <a:cubicBezTo>
                  <a:pt x="979" y="3427"/>
                  <a:pt x="3396" y="982"/>
                  <a:pt x="6366" y="982"/>
                </a:cubicBezTo>
                <a:cubicBezTo>
                  <a:pt x="9336" y="982"/>
                  <a:pt x="11752" y="3427"/>
                  <a:pt x="11752" y="6430"/>
                </a:cubicBezTo>
                <a:cubicBezTo>
                  <a:pt x="11752" y="10208"/>
                  <a:pt x="7888" y="14044"/>
                  <a:pt x="6365" y="15409"/>
                </a:cubicBezTo>
                <a:moveTo>
                  <a:pt x="6366" y="0"/>
                </a:moveTo>
                <a:cubicBezTo>
                  <a:pt x="2850" y="0"/>
                  <a:pt x="0" y="2879"/>
                  <a:pt x="0" y="6430"/>
                </a:cubicBezTo>
                <a:cubicBezTo>
                  <a:pt x="0" y="11655"/>
                  <a:pt x="6366" y="16701"/>
                  <a:pt x="6366" y="16701"/>
                </a:cubicBezTo>
                <a:cubicBezTo>
                  <a:pt x="6366" y="16701"/>
                  <a:pt x="12732" y="11655"/>
                  <a:pt x="12732" y="6430"/>
                </a:cubicBezTo>
                <a:cubicBezTo>
                  <a:pt x="12732" y="2879"/>
                  <a:pt x="9882" y="0"/>
                  <a:pt x="6366" y="0"/>
                </a:cubicBezTo>
                <a:moveTo>
                  <a:pt x="17357" y="19604"/>
                </a:moveTo>
                <a:cubicBezTo>
                  <a:pt x="17127" y="19764"/>
                  <a:pt x="16856" y="19909"/>
                  <a:pt x="16554" y="20033"/>
                </a:cubicBezTo>
                <a:cubicBezTo>
                  <a:pt x="16304" y="20137"/>
                  <a:pt x="16185" y="20424"/>
                  <a:pt x="16288" y="20675"/>
                </a:cubicBezTo>
                <a:cubicBezTo>
                  <a:pt x="16365" y="20865"/>
                  <a:pt x="16548" y="20979"/>
                  <a:pt x="16740" y="20979"/>
                </a:cubicBezTo>
                <a:cubicBezTo>
                  <a:pt x="16802" y="20979"/>
                  <a:pt x="16866" y="20967"/>
                  <a:pt x="16926" y="20942"/>
                </a:cubicBezTo>
                <a:cubicBezTo>
                  <a:pt x="17294" y="20790"/>
                  <a:pt x="17627" y="20611"/>
                  <a:pt x="17915" y="20411"/>
                </a:cubicBezTo>
                <a:cubicBezTo>
                  <a:pt x="18138" y="20256"/>
                  <a:pt x="18193" y="19950"/>
                  <a:pt x="18039" y="19727"/>
                </a:cubicBezTo>
                <a:cubicBezTo>
                  <a:pt x="17885" y="19505"/>
                  <a:pt x="17579" y="19449"/>
                  <a:pt x="17357" y="19604"/>
                </a:cubicBezTo>
                <a:moveTo>
                  <a:pt x="16249" y="13042"/>
                </a:moveTo>
                <a:cubicBezTo>
                  <a:pt x="16109" y="12790"/>
                  <a:pt x="16024" y="12529"/>
                  <a:pt x="15995" y="12265"/>
                </a:cubicBezTo>
                <a:cubicBezTo>
                  <a:pt x="15966" y="11995"/>
                  <a:pt x="15731" y="11801"/>
                  <a:pt x="15456" y="11829"/>
                </a:cubicBezTo>
                <a:cubicBezTo>
                  <a:pt x="15187" y="11859"/>
                  <a:pt x="14992" y="12100"/>
                  <a:pt x="15022" y="12370"/>
                </a:cubicBezTo>
                <a:cubicBezTo>
                  <a:pt x="15064" y="12767"/>
                  <a:pt x="15190" y="13154"/>
                  <a:pt x="15395" y="13522"/>
                </a:cubicBezTo>
                <a:cubicBezTo>
                  <a:pt x="15484" y="13682"/>
                  <a:pt x="15651" y="13773"/>
                  <a:pt x="15822" y="13773"/>
                </a:cubicBezTo>
                <a:cubicBezTo>
                  <a:pt x="15904" y="13773"/>
                  <a:pt x="15985" y="13753"/>
                  <a:pt x="16061" y="13710"/>
                </a:cubicBezTo>
                <a:cubicBezTo>
                  <a:pt x="16297" y="13578"/>
                  <a:pt x="16382" y="13279"/>
                  <a:pt x="16249" y="13042"/>
                </a:cubicBezTo>
                <a:moveTo>
                  <a:pt x="18249" y="15254"/>
                </a:moveTo>
                <a:cubicBezTo>
                  <a:pt x="18041" y="14981"/>
                  <a:pt x="17803" y="14708"/>
                  <a:pt x="17538" y="14439"/>
                </a:cubicBezTo>
                <a:cubicBezTo>
                  <a:pt x="17349" y="14246"/>
                  <a:pt x="17039" y="14244"/>
                  <a:pt x="16845" y="14434"/>
                </a:cubicBezTo>
                <a:cubicBezTo>
                  <a:pt x="16653" y="14624"/>
                  <a:pt x="16651" y="14935"/>
                  <a:pt x="16841" y="15129"/>
                </a:cubicBezTo>
                <a:cubicBezTo>
                  <a:pt x="17076" y="15368"/>
                  <a:pt x="17288" y="15612"/>
                  <a:pt x="17471" y="15851"/>
                </a:cubicBezTo>
                <a:cubicBezTo>
                  <a:pt x="17568" y="15977"/>
                  <a:pt x="17713" y="16043"/>
                  <a:pt x="17860" y="16043"/>
                </a:cubicBezTo>
                <a:cubicBezTo>
                  <a:pt x="17964" y="16043"/>
                  <a:pt x="18068" y="16011"/>
                  <a:pt x="18157" y="15942"/>
                </a:cubicBezTo>
                <a:cubicBezTo>
                  <a:pt x="18373" y="15777"/>
                  <a:pt x="18413" y="15469"/>
                  <a:pt x="18249" y="15254"/>
                </a:cubicBezTo>
                <a:moveTo>
                  <a:pt x="21476" y="5928"/>
                </a:moveTo>
                <a:cubicBezTo>
                  <a:pt x="21352" y="5687"/>
                  <a:pt x="21057" y="5592"/>
                  <a:pt x="20817" y="5717"/>
                </a:cubicBezTo>
                <a:cubicBezTo>
                  <a:pt x="20817" y="5717"/>
                  <a:pt x="20650" y="5803"/>
                  <a:pt x="20371" y="5962"/>
                </a:cubicBezTo>
                <a:cubicBezTo>
                  <a:pt x="20136" y="6096"/>
                  <a:pt x="20054" y="6396"/>
                  <a:pt x="20188" y="6632"/>
                </a:cubicBezTo>
                <a:cubicBezTo>
                  <a:pt x="20278" y="6791"/>
                  <a:pt x="20444" y="6880"/>
                  <a:pt x="20614" y="6880"/>
                </a:cubicBezTo>
                <a:cubicBezTo>
                  <a:pt x="20697" y="6880"/>
                  <a:pt x="20780" y="6859"/>
                  <a:pt x="20856" y="6815"/>
                </a:cubicBezTo>
                <a:cubicBezTo>
                  <a:pt x="21108" y="6672"/>
                  <a:pt x="21261" y="6592"/>
                  <a:pt x="21265" y="6590"/>
                </a:cubicBezTo>
                <a:cubicBezTo>
                  <a:pt x="21506" y="6466"/>
                  <a:pt x="21600" y="6170"/>
                  <a:pt x="21476" y="5928"/>
                </a:cubicBezTo>
                <a:moveTo>
                  <a:pt x="18659" y="16886"/>
                </a:moveTo>
                <a:cubicBezTo>
                  <a:pt x="18395" y="16941"/>
                  <a:pt x="18225" y="17201"/>
                  <a:pt x="18280" y="17467"/>
                </a:cubicBezTo>
                <a:cubicBezTo>
                  <a:pt x="18312" y="17625"/>
                  <a:pt x="18330" y="17781"/>
                  <a:pt x="18330" y="17929"/>
                </a:cubicBezTo>
                <a:cubicBezTo>
                  <a:pt x="18330" y="18050"/>
                  <a:pt x="18318" y="18171"/>
                  <a:pt x="18296" y="18287"/>
                </a:cubicBezTo>
                <a:cubicBezTo>
                  <a:pt x="18244" y="18554"/>
                  <a:pt x="18418" y="18811"/>
                  <a:pt x="18683" y="18862"/>
                </a:cubicBezTo>
                <a:cubicBezTo>
                  <a:pt x="18715" y="18869"/>
                  <a:pt x="18746" y="18871"/>
                  <a:pt x="18777" y="18871"/>
                </a:cubicBezTo>
                <a:cubicBezTo>
                  <a:pt x="19007" y="18871"/>
                  <a:pt x="19212" y="18708"/>
                  <a:pt x="19257" y="18473"/>
                </a:cubicBezTo>
                <a:cubicBezTo>
                  <a:pt x="19292" y="18296"/>
                  <a:pt x="19309" y="18114"/>
                  <a:pt x="19309" y="17929"/>
                </a:cubicBezTo>
                <a:cubicBezTo>
                  <a:pt x="19309" y="17715"/>
                  <a:pt x="19285" y="17492"/>
                  <a:pt x="19239" y="17267"/>
                </a:cubicBezTo>
                <a:cubicBezTo>
                  <a:pt x="19183" y="17001"/>
                  <a:pt x="18923" y="16832"/>
                  <a:pt x="18659" y="16886"/>
                </a:cubicBezTo>
                <a:moveTo>
                  <a:pt x="18590" y="7106"/>
                </a:moveTo>
                <a:cubicBezTo>
                  <a:pt x="18317" y="7303"/>
                  <a:pt x="18035" y="7518"/>
                  <a:pt x="17756" y="7745"/>
                </a:cubicBezTo>
                <a:cubicBezTo>
                  <a:pt x="17546" y="7917"/>
                  <a:pt x="17515" y="8226"/>
                  <a:pt x="17686" y="8436"/>
                </a:cubicBezTo>
                <a:cubicBezTo>
                  <a:pt x="17783" y="8556"/>
                  <a:pt x="17924" y="8617"/>
                  <a:pt x="18066" y="8617"/>
                </a:cubicBezTo>
                <a:cubicBezTo>
                  <a:pt x="18174" y="8617"/>
                  <a:pt x="18284" y="8581"/>
                  <a:pt x="18374" y="8507"/>
                </a:cubicBezTo>
                <a:cubicBezTo>
                  <a:pt x="18637" y="8292"/>
                  <a:pt x="18903" y="8090"/>
                  <a:pt x="19161" y="7905"/>
                </a:cubicBezTo>
                <a:cubicBezTo>
                  <a:pt x="19380" y="7747"/>
                  <a:pt x="19431" y="7440"/>
                  <a:pt x="19273" y="7220"/>
                </a:cubicBezTo>
                <a:cubicBezTo>
                  <a:pt x="19116" y="6999"/>
                  <a:pt x="18810" y="6949"/>
                  <a:pt x="18590" y="7106"/>
                </a:cubicBezTo>
                <a:moveTo>
                  <a:pt x="14704" y="20512"/>
                </a:moveTo>
                <a:cubicBezTo>
                  <a:pt x="14393" y="20556"/>
                  <a:pt x="14065" y="20590"/>
                  <a:pt x="13729" y="20611"/>
                </a:cubicBezTo>
                <a:cubicBezTo>
                  <a:pt x="13459" y="20629"/>
                  <a:pt x="13254" y="20863"/>
                  <a:pt x="13272" y="21134"/>
                </a:cubicBezTo>
                <a:cubicBezTo>
                  <a:pt x="13289" y="21394"/>
                  <a:pt x="13504" y="21593"/>
                  <a:pt x="13760" y="21593"/>
                </a:cubicBezTo>
                <a:cubicBezTo>
                  <a:pt x="13771" y="21593"/>
                  <a:pt x="13781" y="21592"/>
                  <a:pt x="13792" y="21592"/>
                </a:cubicBezTo>
                <a:cubicBezTo>
                  <a:pt x="14152" y="21568"/>
                  <a:pt x="14506" y="21533"/>
                  <a:pt x="14842" y="21485"/>
                </a:cubicBezTo>
                <a:cubicBezTo>
                  <a:pt x="15110" y="21447"/>
                  <a:pt x="15296" y="21198"/>
                  <a:pt x="15258" y="20929"/>
                </a:cubicBezTo>
                <a:cubicBezTo>
                  <a:pt x="15220" y="20661"/>
                  <a:pt x="14973" y="20472"/>
                  <a:pt x="14704" y="20512"/>
                </a:cubicBezTo>
                <a:moveTo>
                  <a:pt x="8893" y="20109"/>
                </a:moveTo>
                <a:cubicBezTo>
                  <a:pt x="8582" y="19997"/>
                  <a:pt x="8299" y="19866"/>
                  <a:pt x="8052" y="19721"/>
                </a:cubicBezTo>
                <a:cubicBezTo>
                  <a:pt x="7818" y="19582"/>
                  <a:pt x="7519" y="19663"/>
                  <a:pt x="7382" y="19896"/>
                </a:cubicBezTo>
                <a:cubicBezTo>
                  <a:pt x="7244" y="20130"/>
                  <a:pt x="7323" y="20432"/>
                  <a:pt x="7556" y="20568"/>
                </a:cubicBezTo>
                <a:cubicBezTo>
                  <a:pt x="7856" y="20744"/>
                  <a:pt x="8194" y="20901"/>
                  <a:pt x="8562" y="21034"/>
                </a:cubicBezTo>
                <a:cubicBezTo>
                  <a:pt x="8617" y="21053"/>
                  <a:pt x="8672" y="21062"/>
                  <a:pt x="8728" y="21062"/>
                </a:cubicBezTo>
                <a:cubicBezTo>
                  <a:pt x="8928" y="21062"/>
                  <a:pt x="9117" y="20938"/>
                  <a:pt x="9189" y="20737"/>
                </a:cubicBezTo>
                <a:cubicBezTo>
                  <a:pt x="9280" y="20482"/>
                  <a:pt x="9148" y="20200"/>
                  <a:pt x="8893" y="20109"/>
                </a:cubicBezTo>
                <a:moveTo>
                  <a:pt x="11751" y="20618"/>
                </a:moveTo>
                <a:cubicBezTo>
                  <a:pt x="11412" y="20600"/>
                  <a:pt x="11082" y="20572"/>
                  <a:pt x="10771" y="20533"/>
                </a:cubicBezTo>
                <a:cubicBezTo>
                  <a:pt x="10502" y="20493"/>
                  <a:pt x="10258" y="20690"/>
                  <a:pt x="10225" y="20959"/>
                </a:cubicBezTo>
                <a:cubicBezTo>
                  <a:pt x="10191" y="21229"/>
                  <a:pt x="10382" y="21474"/>
                  <a:pt x="10650" y="21507"/>
                </a:cubicBezTo>
                <a:cubicBezTo>
                  <a:pt x="10984" y="21549"/>
                  <a:pt x="11337" y="21580"/>
                  <a:pt x="11699" y="21600"/>
                </a:cubicBezTo>
                <a:cubicBezTo>
                  <a:pt x="11708" y="21600"/>
                  <a:pt x="11716" y="21600"/>
                  <a:pt x="11725" y="21600"/>
                </a:cubicBezTo>
                <a:cubicBezTo>
                  <a:pt x="11984" y="21600"/>
                  <a:pt x="12200" y="21397"/>
                  <a:pt x="12214" y="21135"/>
                </a:cubicBezTo>
                <a:cubicBezTo>
                  <a:pt x="12228" y="20863"/>
                  <a:pt x="12021" y="20632"/>
                  <a:pt x="11751" y="20618"/>
                </a:cubicBezTo>
                <a:moveTo>
                  <a:pt x="6840" y="18180"/>
                </a:moveTo>
                <a:cubicBezTo>
                  <a:pt x="6836" y="17912"/>
                  <a:pt x="6619" y="17696"/>
                  <a:pt x="6351" y="17696"/>
                </a:cubicBezTo>
                <a:cubicBezTo>
                  <a:pt x="6080" y="17696"/>
                  <a:pt x="5861" y="17916"/>
                  <a:pt x="5861" y="18188"/>
                </a:cubicBezTo>
                <a:cubicBezTo>
                  <a:pt x="5861" y="18234"/>
                  <a:pt x="5867" y="18484"/>
                  <a:pt x="5997" y="18834"/>
                </a:cubicBezTo>
                <a:cubicBezTo>
                  <a:pt x="6070" y="19033"/>
                  <a:pt x="6257" y="19155"/>
                  <a:pt x="6456" y="19155"/>
                </a:cubicBezTo>
                <a:cubicBezTo>
                  <a:pt x="6512" y="19155"/>
                  <a:pt x="6570" y="19145"/>
                  <a:pt x="6626" y="19124"/>
                </a:cubicBezTo>
                <a:cubicBezTo>
                  <a:pt x="6880" y="19030"/>
                  <a:pt x="7009" y="18748"/>
                  <a:pt x="6915" y="18493"/>
                </a:cubicBezTo>
                <a:cubicBezTo>
                  <a:pt x="6849" y="18314"/>
                  <a:pt x="6841" y="18191"/>
                  <a:pt x="6840" y="18180"/>
                </a:cubicBezTo>
                <a:moveTo>
                  <a:pt x="15760" y="10798"/>
                </a:moveTo>
                <a:cubicBezTo>
                  <a:pt x="15838" y="10844"/>
                  <a:pt x="15924" y="10866"/>
                  <a:pt x="16008" y="10866"/>
                </a:cubicBezTo>
                <a:cubicBezTo>
                  <a:pt x="16176" y="10866"/>
                  <a:pt x="16339" y="10780"/>
                  <a:pt x="16431" y="10625"/>
                </a:cubicBezTo>
                <a:cubicBezTo>
                  <a:pt x="16577" y="10376"/>
                  <a:pt x="16761" y="10120"/>
                  <a:pt x="16977" y="9861"/>
                </a:cubicBezTo>
                <a:cubicBezTo>
                  <a:pt x="17151" y="9653"/>
                  <a:pt x="17124" y="9343"/>
                  <a:pt x="16917" y="9169"/>
                </a:cubicBezTo>
                <a:cubicBezTo>
                  <a:pt x="16709" y="8994"/>
                  <a:pt x="16400" y="9022"/>
                  <a:pt x="16227" y="9230"/>
                </a:cubicBezTo>
                <a:cubicBezTo>
                  <a:pt x="15976" y="9529"/>
                  <a:pt x="15761" y="9832"/>
                  <a:pt x="15587" y="10125"/>
                </a:cubicBezTo>
                <a:cubicBezTo>
                  <a:pt x="15450" y="10359"/>
                  <a:pt x="15527" y="10659"/>
                  <a:pt x="15760" y="10798"/>
                </a:cubicBezTo>
                <a:moveTo>
                  <a:pt x="6366" y="8841"/>
                </a:moveTo>
                <a:cubicBezTo>
                  <a:pt x="5014" y="8841"/>
                  <a:pt x="3917" y="7741"/>
                  <a:pt x="3917" y="6384"/>
                </a:cubicBezTo>
                <a:cubicBezTo>
                  <a:pt x="3917" y="5027"/>
                  <a:pt x="5014" y="3927"/>
                  <a:pt x="6366" y="3927"/>
                </a:cubicBezTo>
                <a:cubicBezTo>
                  <a:pt x="7719" y="3927"/>
                  <a:pt x="8814" y="5027"/>
                  <a:pt x="8814" y="6384"/>
                </a:cubicBezTo>
                <a:cubicBezTo>
                  <a:pt x="8814" y="7741"/>
                  <a:pt x="7719" y="8841"/>
                  <a:pt x="6366" y="8841"/>
                </a:cubicBezTo>
                <a:moveTo>
                  <a:pt x="6366" y="2955"/>
                </a:moveTo>
                <a:cubicBezTo>
                  <a:pt x="4473" y="2955"/>
                  <a:pt x="2938" y="4494"/>
                  <a:pt x="2938" y="6392"/>
                </a:cubicBezTo>
                <a:cubicBezTo>
                  <a:pt x="2938" y="8291"/>
                  <a:pt x="4473" y="9831"/>
                  <a:pt x="6366" y="9831"/>
                </a:cubicBezTo>
                <a:cubicBezTo>
                  <a:pt x="8259" y="9831"/>
                  <a:pt x="9794" y="8291"/>
                  <a:pt x="9794" y="6392"/>
                </a:cubicBezTo>
                <a:cubicBezTo>
                  <a:pt x="9794" y="4494"/>
                  <a:pt x="8259" y="2955"/>
                  <a:pt x="6366" y="2955"/>
                </a:cubicBezTo>
              </a:path>
            </a:pathLst>
          </a:custGeom>
          <a:solidFill>
            <a:schemeClr val="tx1"/>
          </a:solidFill>
          <a:ln w="12700">
            <a:noFill/>
            <a:miter lim="400000"/>
          </a:ln>
        </p:spPr>
        <p:txBody>
          <a:bodyPr lIns="14284" tIns="14284" rIns="14284" bIns="14284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9" name="AutoShape 49">
            <a:extLst>
              <a:ext uri="{FF2B5EF4-FFF2-40B4-BE49-F238E27FC236}">
                <a16:creationId xmlns:a16="http://schemas.microsoft.com/office/drawing/2014/main" id="{3E0F786D-246C-4DE1-B302-9024B38A7EF1}"/>
              </a:ext>
            </a:extLst>
          </p:cNvPr>
          <p:cNvSpPr>
            <a:spLocks noChangeAspect="1"/>
          </p:cNvSpPr>
          <p:nvPr/>
        </p:nvSpPr>
        <p:spPr bwMode="auto">
          <a:xfrm flipH="1">
            <a:off x="1654006" y="3106722"/>
            <a:ext cx="319086" cy="320492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3143" y="21047"/>
                </a:moveTo>
                <a:cubicBezTo>
                  <a:pt x="3143" y="21200"/>
                  <a:pt x="3101" y="21329"/>
                  <a:pt x="3025" y="21435"/>
                </a:cubicBezTo>
                <a:cubicBezTo>
                  <a:pt x="2947" y="21544"/>
                  <a:pt x="2841" y="21599"/>
                  <a:pt x="2707" y="21599"/>
                </a:cubicBezTo>
                <a:lnTo>
                  <a:pt x="457" y="21599"/>
                </a:lnTo>
                <a:cubicBezTo>
                  <a:pt x="154" y="21599"/>
                  <a:pt x="0" y="21414"/>
                  <a:pt x="0" y="21047"/>
                </a:cubicBezTo>
                <a:lnTo>
                  <a:pt x="0" y="17393"/>
                </a:lnTo>
                <a:cubicBezTo>
                  <a:pt x="0" y="17244"/>
                  <a:pt x="46" y="17114"/>
                  <a:pt x="134" y="17006"/>
                </a:cubicBezTo>
                <a:cubicBezTo>
                  <a:pt x="225" y="16900"/>
                  <a:pt x="332" y="16844"/>
                  <a:pt x="457" y="16844"/>
                </a:cubicBezTo>
                <a:lnTo>
                  <a:pt x="2707" y="16844"/>
                </a:lnTo>
                <a:cubicBezTo>
                  <a:pt x="2834" y="16844"/>
                  <a:pt x="2937" y="16900"/>
                  <a:pt x="3018" y="17006"/>
                </a:cubicBezTo>
                <a:cubicBezTo>
                  <a:pt x="3101" y="17114"/>
                  <a:pt x="3143" y="17244"/>
                  <a:pt x="3143" y="17393"/>
                </a:cubicBezTo>
                <a:lnTo>
                  <a:pt x="3143" y="21047"/>
                </a:lnTo>
                <a:close/>
                <a:moveTo>
                  <a:pt x="7757" y="21047"/>
                </a:moveTo>
                <a:cubicBezTo>
                  <a:pt x="7757" y="21200"/>
                  <a:pt x="7715" y="21329"/>
                  <a:pt x="7634" y="21435"/>
                </a:cubicBezTo>
                <a:cubicBezTo>
                  <a:pt x="7551" y="21544"/>
                  <a:pt x="7448" y="21599"/>
                  <a:pt x="7324" y="21599"/>
                </a:cubicBezTo>
                <a:lnTo>
                  <a:pt x="5062" y="21599"/>
                </a:lnTo>
                <a:cubicBezTo>
                  <a:pt x="4934" y="21599"/>
                  <a:pt x="4829" y="21544"/>
                  <a:pt x="4739" y="21435"/>
                </a:cubicBezTo>
                <a:cubicBezTo>
                  <a:pt x="4648" y="21329"/>
                  <a:pt x="4604" y="21200"/>
                  <a:pt x="4604" y="21047"/>
                </a:cubicBezTo>
                <a:lnTo>
                  <a:pt x="4604" y="14947"/>
                </a:lnTo>
                <a:cubicBezTo>
                  <a:pt x="4604" y="14797"/>
                  <a:pt x="4648" y="14668"/>
                  <a:pt x="4739" y="14559"/>
                </a:cubicBezTo>
                <a:cubicBezTo>
                  <a:pt x="4829" y="14453"/>
                  <a:pt x="4934" y="14398"/>
                  <a:pt x="5062" y="14398"/>
                </a:cubicBezTo>
                <a:lnTo>
                  <a:pt x="7324" y="14398"/>
                </a:lnTo>
                <a:cubicBezTo>
                  <a:pt x="7448" y="14398"/>
                  <a:pt x="7551" y="14453"/>
                  <a:pt x="7634" y="14559"/>
                </a:cubicBezTo>
                <a:cubicBezTo>
                  <a:pt x="7715" y="14668"/>
                  <a:pt x="7757" y="14797"/>
                  <a:pt x="7757" y="14947"/>
                </a:cubicBezTo>
                <a:lnTo>
                  <a:pt x="7757" y="21047"/>
                </a:lnTo>
                <a:close/>
                <a:moveTo>
                  <a:pt x="12388" y="21047"/>
                </a:moveTo>
                <a:cubicBezTo>
                  <a:pt x="12388" y="21200"/>
                  <a:pt x="12342" y="21329"/>
                  <a:pt x="12251" y="21435"/>
                </a:cubicBezTo>
                <a:cubicBezTo>
                  <a:pt x="12165" y="21544"/>
                  <a:pt x="12055" y="21599"/>
                  <a:pt x="11928" y="21599"/>
                </a:cubicBezTo>
                <a:lnTo>
                  <a:pt x="9666" y="21599"/>
                </a:lnTo>
                <a:cubicBezTo>
                  <a:pt x="9541" y="21599"/>
                  <a:pt x="9434" y="21544"/>
                  <a:pt x="9343" y="21435"/>
                </a:cubicBezTo>
                <a:cubicBezTo>
                  <a:pt x="9255" y="21329"/>
                  <a:pt x="9208" y="21200"/>
                  <a:pt x="9208" y="21047"/>
                </a:cubicBezTo>
                <a:lnTo>
                  <a:pt x="9208" y="11546"/>
                </a:lnTo>
                <a:cubicBezTo>
                  <a:pt x="9208" y="11393"/>
                  <a:pt x="9255" y="11264"/>
                  <a:pt x="9343" y="11158"/>
                </a:cubicBezTo>
                <a:cubicBezTo>
                  <a:pt x="9434" y="11049"/>
                  <a:pt x="9541" y="10996"/>
                  <a:pt x="9666" y="10996"/>
                </a:cubicBezTo>
                <a:lnTo>
                  <a:pt x="11928" y="10996"/>
                </a:lnTo>
                <a:cubicBezTo>
                  <a:pt x="12055" y="10996"/>
                  <a:pt x="12165" y="11049"/>
                  <a:pt x="12251" y="11158"/>
                </a:cubicBezTo>
                <a:cubicBezTo>
                  <a:pt x="12342" y="11264"/>
                  <a:pt x="12388" y="11393"/>
                  <a:pt x="12388" y="11546"/>
                </a:cubicBezTo>
                <a:lnTo>
                  <a:pt x="12388" y="21047"/>
                </a:lnTo>
                <a:close/>
                <a:moveTo>
                  <a:pt x="16993" y="21047"/>
                </a:moveTo>
                <a:cubicBezTo>
                  <a:pt x="16993" y="21200"/>
                  <a:pt x="16946" y="21329"/>
                  <a:pt x="16856" y="21435"/>
                </a:cubicBezTo>
                <a:cubicBezTo>
                  <a:pt x="16767" y="21544"/>
                  <a:pt x="16660" y="21599"/>
                  <a:pt x="16535" y="21599"/>
                </a:cubicBezTo>
                <a:lnTo>
                  <a:pt x="14285" y="21599"/>
                </a:lnTo>
                <a:cubicBezTo>
                  <a:pt x="14158" y="21599"/>
                  <a:pt x="14055" y="21544"/>
                  <a:pt x="13974" y="21435"/>
                </a:cubicBezTo>
                <a:cubicBezTo>
                  <a:pt x="13894" y="21329"/>
                  <a:pt x="13850" y="21200"/>
                  <a:pt x="13850" y="21047"/>
                </a:cubicBezTo>
                <a:lnTo>
                  <a:pt x="13850" y="7058"/>
                </a:lnTo>
                <a:cubicBezTo>
                  <a:pt x="13850" y="6908"/>
                  <a:pt x="13891" y="6781"/>
                  <a:pt x="13967" y="6670"/>
                </a:cubicBezTo>
                <a:cubicBezTo>
                  <a:pt x="14045" y="6564"/>
                  <a:pt x="14151" y="6511"/>
                  <a:pt x="14285" y="6511"/>
                </a:cubicBezTo>
                <a:lnTo>
                  <a:pt x="16535" y="6511"/>
                </a:lnTo>
                <a:cubicBezTo>
                  <a:pt x="16660" y="6511"/>
                  <a:pt x="16767" y="6561"/>
                  <a:pt x="16855" y="6664"/>
                </a:cubicBezTo>
                <a:cubicBezTo>
                  <a:pt x="16946" y="6767"/>
                  <a:pt x="16993" y="6899"/>
                  <a:pt x="16993" y="7058"/>
                </a:cubicBezTo>
                <a:lnTo>
                  <a:pt x="16993" y="21047"/>
                </a:lnTo>
                <a:close/>
                <a:moveTo>
                  <a:pt x="21599" y="21047"/>
                </a:moveTo>
                <a:cubicBezTo>
                  <a:pt x="21599" y="21414"/>
                  <a:pt x="21448" y="21599"/>
                  <a:pt x="21139" y="21599"/>
                </a:cubicBezTo>
                <a:lnTo>
                  <a:pt x="18914" y="21599"/>
                </a:lnTo>
                <a:cubicBezTo>
                  <a:pt x="18611" y="21599"/>
                  <a:pt x="18456" y="21414"/>
                  <a:pt x="18456" y="21047"/>
                </a:cubicBezTo>
                <a:lnTo>
                  <a:pt x="18456" y="549"/>
                </a:lnTo>
                <a:cubicBezTo>
                  <a:pt x="18456" y="182"/>
                  <a:pt x="18608" y="0"/>
                  <a:pt x="18914" y="0"/>
                </a:cubicBezTo>
                <a:lnTo>
                  <a:pt x="21139" y="0"/>
                </a:lnTo>
                <a:cubicBezTo>
                  <a:pt x="21445" y="0"/>
                  <a:pt x="21599" y="182"/>
                  <a:pt x="21599" y="549"/>
                </a:cubicBezTo>
                <a:lnTo>
                  <a:pt x="21599" y="2104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lIns="38082" tIns="38082" rIns="38082" bIns="38082" anchor="ctr"/>
          <a:lstStyle/>
          <a:p>
            <a:pPr marL="0" marR="0" lvl="0" indent="0" algn="l" defTabSz="3427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30" name="Shape 2590">
            <a:extLst>
              <a:ext uri="{FF2B5EF4-FFF2-40B4-BE49-F238E27FC236}">
                <a16:creationId xmlns:a16="http://schemas.microsoft.com/office/drawing/2014/main" id="{85E98B49-0211-41A6-BAC5-F8AB1631BFF0}"/>
              </a:ext>
            </a:extLst>
          </p:cNvPr>
          <p:cNvSpPr>
            <a:spLocks noChangeAspect="1"/>
          </p:cNvSpPr>
          <p:nvPr/>
        </p:nvSpPr>
        <p:spPr>
          <a:xfrm>
            <a:off x="8272256" y="3035279"/>
            <a:ext cx="387896" cy="38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9636"/>
                </a:moveTo>
                <a:cubicBezTo>
                  <a:pt x="20618" y="20178"/>
                  <a:pt x="20178" y="20619"/>
                  <a:pt x="19636" y="20619"/>
                </a:cubicBezTo>
                <a:lnTo>
                  <a:pt x="1964" y="20619"/>
                </a:lnTo>
                <a:cubicBezTo>
                  <a:pt x="1422" y="20619"/>
                  <a:pt x="982" y="20178"/>
                  <a:pt x="982" y="19636"/>
                </a:cubicBez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9636"/>
                  <a:pt x="20618" y="19636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  <a:moveTo>
                  <a:pt x="7855" y="6382"/>
                </a:moveTo>
                <a:cubicBezTo>
                  <a:pt x="7313" y="6382"/>
                  <a:pt x="6873" y="5943"/>
                  <a:pt x="6873" y="5400"/>
                </a:cubicBezTo>
                <a:cubicBezTo>
                  <a:pt x="6873" y="4858"/>
                  <a:pt x="7313" y="4418"/>
                  <a:pt x="7855" y="4418"/>
                </a:cubicBezTo>
                <a:cubicBezTo>
                  <a:pt x="8396" y="4418"/>
                  <a:pt x="8836" y="4858"/>
                  <a:pt x="8836" y="5400"/>
                </a:cubicBezTo>
                <a:cubicBezTo>
                  <a:pt x="8836" y="5943"/>
                  <a:pt x="8396" y="6382"/>
                  <a:pt x="7855" y="6382"/>
                </a:cubicBezTo>
                <a:moveTo>
                  <a:pt x="18164" y="4909"/>
                </a:moveTo>
                <a:lnTo>
                  <a:pt x="9749" y="4909"/>
                </a:lnTo>
                <a:cubicBezTo>
                  <a:pt x="9530" y="4064"/>
                  <a:pt x="8768" y="3436"/>
                  <a:pt x="7855" y="3436"/>
                </a:cubicBezTo>
                <a:cubicBezTo>
                  <a:pt x="6941" y="3436"/>
                  <a:pt x="6180" y="4064"/>
                  <a:pt x="5960" y="4909"/>
                </a:cubicBezTo>
                <a:lnTo>
                  <a:pt x="3436" y="4909"/>
                </a:lnTo>
                <a:cubicBezTo>
                  <a:pt x="3165" y="4909"/>
                  <a:pt x="2945" y="5129"/>
                  <a:pt x="2945" y="5400"/>
                </a:cubicBezTo>
                <a:cubicBezTo>
                  <a:pt x="2945" y="5672"/>
                  <a:pt x="3165" y="5891"/>
                  <a:pt x="3436" y="5891"/>
                </a:cubicBezTo>
                <a:lnTo>
                  <a:pt x="5960" y="5891"/>
                </a:lnTo>
                <a:cubicBezTo>
                  <a:pt x="6180" y="6737"/>
                  <a:pt x="6941" y="7364"/>
                  <a:pt x="7855" y="7364"/>
                </a:cubicBezTo>
                <a:cubicBezTo>
                  <a:pt x="8768" y="7364"/>
                  <a:pt x="9530" y="6737"/>
                  <a:pt x="9749" y="5891"/>
                </a:cubicBezTo>
                <a:lnTo>
                  <a:pt x="18164" y="5891"/>
                </a:lnTo>
                <a:cubicBezTo>
                  <a:pt x="18435" y="5891"/>
                  <a:pt x="18655" y="5672"/>
                  <a:pt x="18655" y="5400"/>
                </a:cubicBezTo>
                <a:cubicBezTo>
                  <a:pt x="18655" y="5129"/>
                  <a:pt x="18435" y="4909"/>
                  <a:pt x="18164" y="4909"/>
                </a:cubicBezTo>
                <a:moveTo>
                  <a:pt x="14727" y="11782"/>
                </a:moveTo>
                <a:cubicBezTo>
                  <a:pt x="14186" y="11782"/>
                  <a:pt x="13745" y="11342"/>
                  <a:pt x="13745" y="10800"/>
                </a:cubicBezTo>
                <a:cubicBezTo>
                  <a:pt x="13745" y="10258"/>
                  <a:pt x="14186" y="9818"/>
                  <a:pt x="14727" y="9818"/>
                </a:cubicBezTo>
                <a:cubicBezTo>
                  <a:pt x="15269" y="9818"/>
                  <a:pt x="15709" y="10258"/>
                  <a:pt x="15709" y="10800"/>
                </a:cubicBezTo>
                <a:cubicBezTo>
                  <a:pt x="15709" y="11342"/>
                  <a:pt x="15269" y="11782"/>
                  <a:pt x="14727" y="11782"/>
                </a:cubicBezTo>
                <a:moveTo>
                  <a:pt x="18164" y="10310"/>
                </a:moveTo>
                <a:lnTo>
                  <a:pt x="16621" y="10310"/>
                </a:lnTo>
                <a:cubicBezTo>
                  <a:pt x="16402" y="9464"/>
                  <a:pt x="15641" y="8836"/>
                  <a:pt x="14727" y="8836"/>
                </a:cubicBezTo>
                <a:cubicBezTo>
                  <a:pt x="13814" y="8836"/>
                  <a:pt x="13052" y="9464"/>
                  <a:pt x="12833" y="10310"/>
                </a:cubicBezTo>
                <a:lnTo>
                  <a:pt x="3436" y="10310"/>
                </a:lnTo>
                <a:cubicBezTo>
                  <a:pt x="3165" y="10310"/>
                  <a:pt x="2945" y="10529"/>
                  <a:pt x="2945" y="10800"/>
                </a:cubicBezTo>
                <a:cubicBezTo>
                  <a:pt x="2945" y="11072"/>
                  <a:pt x="3165" y="11291"/>
                  <a:pt x="3436" y="11291"/>
                </a:cubicBezTo>
                <a:lnTo>
                  <a:pt x="12833" y="11291"/>
                </a:lnTo>
                <a:cubicBezTo>
                  <a:pt x="13052" y="12137"/>
                  <a:pt x="13814" y="12764"/>
                  <a:pt x="14727" y="12764"/>
                </a:cubicBezTo>
                <a:cubicBezTo>
                  <a:pt x="15641" y="12764"/>
                  <a:pt x="16402" y="12137"/>
                  <a:pt x="16621" y="11291"/>
                </a:cubicBezTo>
                <a:lnTo>
                  <a:pt x="18164" y="11291"/>
                </a:lnTo>
                <a:cubicBezTo>
                  <a:pt x="18435" y="11291"/>
                  <a:pt x="18655" y="11072"/>
                  <a:pt x="18655" y="10800"/>
                </a:cubicBezTo>
                <a:cubicBezTo>
                  <a:pt x="18655" y="10529"/>
                  <a:pt x="18435" y="10310"/>
                  <a:pt x="18164" y="10310"/>
                </a:cubicBezTo>
                <a:moveTo>
                  <a:pt x="9818" y="17182"/>
                </a:moveTo>
                <a:cubicBezTo>
                  <a:pt x="9276" y="17182"/>
                  <a:pt x="8836" y="16743"/>
                  <a:pt x="8836" y="16200"/>
                </a:cubicBezTo>
                <a:cubicBezTo>
                  <a:pt x="8836" y="15658"/>
                  <a:pt x="9276" y="15218"/>
                  <a:pt x="9818" y="15218"/>
                </a:cubicBezTo>
                <a:cubicBezTo>
                  <a:pt x="10360" y="15218"/>
                  <a:pt x="10800" y="15658"/>
                  <a:pt x="10800" y="16200"/>
                </a:cubicBezTo>
                <a:cubicBezTo>
                  <a:pt x="10800" y="16743"/>
                  <a:pt x="10360" y="17182"/>
                  <a:pt x="9818" y="17182"/>
                </a:cubicBezTo>
                <a:moveTo>
                  <a:pt x="18164" y="15709"/>
                </a:moveTo>
                <a:lnTo>
                  <a:pt x="11712" y="15709"/>
                </a:lnTo>
                <a:cubicBezTo>
                  <a:pt x="11493" y="14863"/>
                  <a:pt x="10732" y="14237"/>
                  <a:pt x="9818" y="14237"/>
                </a:cubicBezTo>
                <a:cubicBezTo>
                  <a:pt x="8904" y="14237"/>
                  <a:pt x="8143" y="14863"/>
                  <a:pt x="7924" y="15709"/>
                </a:cubicBezTo>
                <a:lnTo>
                  <a:pt x="3436" y="15709"/>
                </a:lnTo>
                <a:cubicBezTo>
                  <a:pt x="3165" y="15709"/>
                  <a:pt x="2945" y="15929"/>
                  <a:pt x="2945" y="16200"/>
                </a:cubicBezTo>
                <a:cubicBezTo>
                  <a:pt x="2945" y="16472"/>
                  <a:pt x="3165" y="16691"/>
                  <a:pt x="3436" y="16691"/>
                </a:cubicBezTo>
                <a:lnTo>
                  <a:pt x="7924" y="16691"/>
                </a:lnTo>
                <a:cubicBezTo>
                  <a:pt x="8143" y="17537"/>
                  <a:pt x="8904" y="18164"/>
                  <a:pt x="9818" y="18164"/>
                </a:cubicBezTo>
                <a:cubicBezTo>
                  <a:pt x="10732" y="18164"/>
                  <a:pt x="11493" y="17537"/>
                  <a:pt x="11712" y="16691"/>
                </a:cubicBezTo>
                <a:lnTo>
                  <a:pt x="18164" y="16691"/>
                </a:lnTo>
                <a:cubicBezTo>
                  <a:pt x="18435" y="16691"/>
                  <a:pt x="18655" y="16472"/>
                  <a:pt x="18655" y="16200"/>
                </a:cubicBezTo>
                <a:cubicBezTo>
                  <a:pt x="18655" y="15929"/>
                  <a:pt x="18435" y="15709"/>
                  <a:pt x="18164" y="15709"/>
                </a:cubicBezTo>
              </a:path>
            </a:pathLst>
          </a:custGeom>
          <a:solidFill>
            <a:schemeClr val="tx1"/>
          </a:solidFill>
          <a:ln w="12700">
            <a:noFill/>
            <a:miter lim="400000"/>
          </a:ln>
        </p:spPr>
        <p:txBody>
          <a:bodyPr lIns="14284" tIns="14284" rIns="14284" bIns="14284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31" name="Shape 2592">
            <a:extLst>
              <a:ext uri="{FF2B5EF4-FFF2-40B4-BE49-F238E27FC236}">
                <a16:creationId xmlns:a16="http://schemas.microsoft.com/office/drawing/2014/main" id="{45F907A7-411F-4B79-86C0-043629592B1D}"/>
              </a:ext>
            </a:extLst>
          </p:cNvPr>
          <p:cNvSpPr>
            <a:spLocks noChangeAspect="1"/>
          </p:cNvSpPr>
          <p:nvPr/>
        </p:nvSpPr>
        <p:spPr>
          <a:xfrm>
            <a:off x="10409316" y="3123194"/>
            <a:ext cx="387896" cy="3877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2012"/>
                </a:moveTo>
                <a:cubicBezTo>
                  <a:pt x="20614" y="12014"/>
                  <a:pt x="20611" y="12016"/>
                  <a:pt x="20607" y="12016"/>
                </a:cubicBezTo>
                <a:lnTo>
                  <a:pt x="19602" y="12268"/>
                </a:lnTo>
                <a:cubicBezTo>
                  <a:pt x="19256" y="12354"/>
                  <a:pt x="18984" y="12622"/>
                  <a:pt x="18892" y="12966"/>
                </a:cubicBezTo>
                <a:cubicBezTo>
                  <a:pt x="18703" y="13672"/>
                  <a:pt x="18421" y="14352"/>
                  <a:pt x="18053" y="14986"/>
                </a:cubicBezTo>
                <a:cubicBezTo>
                  <a:pt x="17873" y="15295"/>
                  <a:pt x="17876" y="15677"/>
                  <a:pt x="18060" y="15984"/>
                </a:cubicBezTo>
                <a:lnTo>
                  <a:pt x="18601" y="16885"/>
                </a:lnTo>
                <a:lnTo>
                  <a:pt x="16886" y="18600"/>
                </a:lnTo>
                <a:cubicBezTo>
                  <a:pt x="16882" y="18598"/>
                  <a:pt x="16878" y="18597"/>
                  <a:pt x="16875" y="18595"/>
                </a:cubicBezTo>
                <a:lnTo>
                  <a:pt x="15978" y="18057"/>
                </a:lnTo>
                <a:cubicBezTo>
                  <a:pt x="15822" y="17964"/>
                  <a:pt x="15648" y="17917"/>
                  <a:pt x="15473" y="17917"/>
                </a:cubicBezTo>
                <a:cubicBezTo>
                  <a:pt x="15304" y="17917"/>
                  <a:pt x="15134" y="17961"/>
                  <a:pt x="14982" y="18049"/>
                </a:cubicBezTo>
                <a:cubicBezTo>
                  <a:pt x="14348" y="18415"/>
                  <a:pt x="13671" y="18696"/>
                  <a:pt x="12968" y="18884"/>
                </a:cubicBezTo>
                <a:cubicBezTo>
                  <a:pt x="12624" y="18976"/>
                  <a:pt x="12356" y="19248"/>
                  <a:pt x="12269" y="19594"/>
                </a:cubicBezTo>
                <a:lnTo>
                  <a:pt x="12016" y="20607"/>
                </a:lnTo>
                <a:cubicBezTo>
                  <a:pt x="12015" y="20611"/>
                  <a:pt x="12014" y="20614"/>
                  <a:pt x="12012" y="20619"/>
                </a:cubicBezTo>
                <a:lnTo>
                  <a:pt x="9587" y="20619"/>
                </a:lnTo>
                <a:lnTo>
                  <a:pt x="9331" y="19594"/>
                </a:lnTo>
                <a:cubicBezTo>
                  <a:pt x="9244" y="19248"/>
                  <a:pt x="8976" y="18976"/>
                  <a:pt x="8632" y="18884"/>
                </a:cubicBezTo>
                <a:cubicBezTo>
                  <a:pt x="7929" y="18696"/>
                  <a:pt x="7252" y="18415"/>
                  <a:pt x="6617" y="18049"/>
                </a:cubicBezTo>
                <a:cubicBezTo>
                  <a:pt x="6465" y="17961"/>
                  <a:pt x="6296" y="17917"/>
                  <a:pt x="6127" y="17917"/>
                </a:cubicBezTo>
                <a:cubicBezTo>
                  <a:pt x="5951" y="17917"/>
                  <a:pt x="5777" y="17964"/>
                  <a:pt x="5621" y="18057"/>
                </a:cubicBezTo>
                <a:lnTo>
                  <a:pt x="4725" y="18595"/>
                </a:lnTo>
                <a:cubicBezTo>
                  <a:pt x="4722" y="18597"/>
                  <a:pt x="4718" y="18598"/>
                  <a:pt x="4714" y="18600"/>
                </a:cubicBezTo>
                <a:lnTo>
                  <a:pt x="3000" y="16885"/>
                </a:lnTo>
                <a:lnTo>
                  <a:pt x="3540" y="15984"/>
                </a:lnTo>
                <a:cubicBezTo>
                  <a:pt x="3724" y="15677"/>
                  <a:pt x="3727" y="15295"/>
                  <a:pt x="3548" y="14986"/>
                </a:cubicBezTo>
                <a:cubicBezTo>
                  <a:pt x="3179" y="14351"/>
                  <a:pt x="2897" y="13672"/>
                  <a:pt x="2708" y="12966"/>
                </a:cubicBezTo>
                <a:cubicBezTo>
                  <a:pt x="2616" y="12622"/>
                  <a:pt x="2343" y="12354"/>
                  <a:pt x="1998" y="12268"/>
                </a:cubicBezTo>
                <a:lnTo>
                  <a:pt x="993" y="12016"/>
                </a:lnTo>
                <a:cubicBezTo>
                  <a:pt x="989" y="12016"/>
                  <a:pt x="986" y="12014"/>
                  <a:pt x="982" y="12012"/>
                </a:cubicBezTo>
                <a:lnTo>
                  <a:pt x="982" y="9587"/>
                </a:lnTo>
                <a:lnTo>
                  <a:pt x="1998" y="9333"/>
                </a:lnTo>
                <a:cubicBezTo>
                  <a:pt x="2343" y="9246"/>
                  <a:pt x="2616" y="8979"/>
                  <a:pt x="2708" y="8634"/>
                </a:cubicBezTo>
                <a:cubicBezTo>
                  <a:pt x="2897" y="7929"/>
                  <a:pt x="3179" y="7249"/>
                  <a:pt x="3548" y="6615"/>
                </a:cubicBezTo>
                <a:cubicBezTo>
                  <a:pt x="3727" y="6305"/>
                  <a:pt x="3724" y="5923"/>
                  <a:pt x="3540" y="5617"/>
                </a:cubicBezTo>
                <a:lnTo>
                  <a:pt x="3005" y="4725"/>
                </a:lnTo>
                <a:cubicBezTo>
                  <a:pt x="3004" y="4722"/>
                  <a:pt x="3002" y="4719"/>
                  <a:pt x="3000" y="4715"/>
                </a:cubicBezTo>
                <a:lnTo>
                  <a:pt x="4715" y="3000"/>
                </a:lnTo>
                <a:lnTo>
                  <a:pt x="5621" y="3543"/>
                </a:lnTo>
                <a:cubicBezTo>
                  <a:pt x="5777" y="3637"/>
                  <a:pt x="5951" y="3683"/>
                  <a:pt x="6127" y="3683"/>
                </a:cubicBezTo>
                <a:cubicBezTo>
                  <a:pt x="6296" y="3683"/>
                  <a:pt x="6465" y="3639"/>
                  <a:pt x="6618" y="3552"/>
                </a:cubicBezTo>
                <a:cubicBezTo>
                  <a:pt x="7251" y="3185"/>
                  <a:pt x="7929" y="2904"/>
                  <a:pt x="8632" y="2717"/>
                </a:cubicBezTo>
                <a:cubicBezTo>
                  <a:pt x="8976" y="2624"/>
                  <a:pt x="9244" y="2352"/>
                  <a:pt x="9331" y="2006"/>
                </a:cubicBezTo>
                <a:lnTo>
                  <a:pt x="9587" y="982"/>
                </a:lnTo>
                <a:lnTo>
                  <a:pt x="12012" y="982"/>
                </a:lnTo>
                <a:cubicBezTo>
                  <a:pt x="12014" y="986"/>
                  <a:pt x="12015" y="989"/>
                  <a:pt x="12016" y="993"/>
                </a:cubicBezTo>
                <a:lnTo>
                  <a:pt x="12269" y="2006"/>
                </a:lnTo>
                <a:cubicBezTo>
                  <a:pt x="12356" y="2352"/>
                  <a:pt x="12624" y="2624"/>
                  <a:pt x="12968" y="2717"/>
                </a:cubicBezTo>
                <a:cubicBezTo>
                  <a:pt x="13671" y="2904"/>
                  <a:pt x="14348" y="3185"/>
                  <a:pt x="14982" y="3552"/>
                </a:cubicBezTo>
                <a:cubicBezTo>
                  <a:pt x="15134" y="3639"/>
                  <a:pt x="15304" y="3683"/>
                  <a:pt x="15473" y="3683"/>
                </a:cubicBezTo>
                <a:cubicBezTo>
                  <a:pt x="15648" y="3683"/>
                  <a:pt x="15822" y="3637"/>
                  <a:pt x="15978" y="3543"/>
                </a:cubicBezTo>
                <a:lnTo>
                  <a:pt x="16884" y="3000"/>
                </a:lnTo>
                <a:lnTo>
                  <a:pt x="18600" y="4715"/>
                </a:lnTo>
                <a:cubicBezTo>
                  <a:pt x="18598" y="4719"/>
                  <a:pt x="18597" y="4722"/>
                  <a:pt x="18595" y="4725"/>
                </a:cubicBezTo>
                <a:lnTo>
                  <a:pt x="18060" y="5616"/>
                </a:lnTo>
                <a:cubicBezTo>
                  <a:pt x="17876" y="5923"/>
                  <a:pt x="17873" y="6305"/>
                  <a:pt x="18053" y="6615"/>
                </a:cubicBezTo>
                <a:cubicBezTo>
                  <a:pt x="18421" y="7249"/>
                  <a:pt x="18703" y="7928"/>
                  <a:pt x="18892" y="8634"/>
                </a:cubicBezTo>
                <a:cubicBezTo>
                  <a:pt x="18984" y="8979"/>
                  <a:pt x="19256" y="9246"/>
                  <a:pt x="19602" y="9333"/>
                </a:cubicBezTo>
                <a:lnTo>
                  <a:pt x="20618" y="9587"/>
                </a:lnTo>
                <a:cubicBezTo>
                  <a:pt x="20618" y="9587"/>
                  <a:pt x="20618" y="12012"/>
                  <a:pt x="20618" y="12012"/>
                </a:cubicBezTo>
                <a:close/>
                <a:moveTo>
                  <a:pt x="20880" y="8641"/>
                </a:moveTo>
                <a:lnTo>
                  <a:pt x="19841" y="8380"/>
                </a:lnTo>
                <a:cubicBezTo>
                  <a:pt x="19626" y="7580"/>
                  <a:pt x="19308" y="6822"/>
                  <a:pt x="18902" y="6122"/>
                </a:cubicBezTo>
                <a:lnTo>
                  <a:pt x="19455" y="5200"/>
                </a:lnTo>
                <a:cubicBezTo>
                  <a:pt x="19625" y="4871"/>
                  <a:pt x="19736" y="4463"/>
                  <a:pt x="19455" y="4182"/>
                </a:cubicBezTo>
                <a:lnTo>
                  <a:pt x="17419" y="2145"/>
                </a:lnTo>
                <a:cubicBezTo>
                  <a:pt x="17292" y="2019"/>
                  <a:pt x="17136" y="1968"/>
                  <a:pt x="16975" y="1968"/>
                </a:cubicBezTo>
                <a:cubicBezTo>
                  <a:pt x="16778" y="1968"/>
                  <a:pt x="16572" y="2043"/>
                  <a:pt x="16400" y="2145"/>
                </a:cubicBezTo>
                <a:lnTo>
                  <a:pt x="15473" y="2701"/>
                </a:lnTo>
                <a:cubicBezTo>
                  <a:pt x="14775" y="2298"/>
                  <a:pt x="14020" y="1982"/>
                  <a:pt x="13222" y="1768"/>
                </a:cubicBezTo>
                <a:lnTo>
                  <a:pt x="12960" y="720"/>
                </a:lnTo>
                <a:cubicBezTo>
                  <a:pt x="12848" y="367"/>
                  <a:pt x="12638" y="0"/>
                  <a:pt x="12240" y="0"/>
                </a:cubicBezTo>
                <a:lnTo>
                  <a:pt x="9360" y="0"/>
                </a:lnTo>
                <a:cubicBezTo>
                  <a:pt x="8962" y="0"/>
                  <a:pt x="8730" y="367"/>
                  <a:pt x="8640" y="720"/>
                </a:cubicBezTo>
                <a:lnTo>
                  <a:pt x="8378" y="1768"/>
                </a:lnTo>
                <a:cubicBezTo>
                  <a:pt x="7580" y="1982"/>
                  <a:pt x="6825" y="2298"/>
                  <a:pt x="6127" y="2701"/>
                </a:cubicBezTo>
                <a:lnTo>
                  <a:pt x="5200" y="2145"/>
                </a:lnTo>
                <a:cubicBezTo>
                  <a:pt x="5028" y="2043"/>
                  <a:pt x="4822" y="1968"/>
                  <a:pt x="4625" y="1968"/>
                </a:cubicBezTo>
                <a:cubicBezTo>
                  <a:pt x="4464" y="1968"/>
                  <a:pt x="4308" y="2019"/>
                  <a:pt x="4181" y="2145"/>
                </a:cubicBezTo>
                <a:lnTo>
                  <a:pt x="2145" y="4182"/>
                </a:lnTo>
                <a:cubicBezTo>
                  <a:pt x="1864" y="4463"/>
                  <a:pt x="1975" y="4871"/>
                  <a:pt x="2145" y="5200"/>
                </a:cubicBezTo>
                <a:lnTo>
                  <a:pt x="2698" y="6122"/>
                </a:lnTo>
                <a:cubicBezTo>
                  <a:pt x="2292" y="6822"/>
                  <a:pt x="1973" y="7580"/>
                  <a:pt x="1759" y="8380"/>
                </a:cubicBezTo>
                <a:lnTo>
                  <a:pt x="720" y="8641"/>
                </a:lnTo>
                <a:cubicBezTo>
                  <a:pt x="367" y="8730"/>
                  <a:pt x="0" y="8962"/>
                  <a:pt x="0" y="9361"/>
                </a:cubicBezTo>
                <a:lnTo>
                  <a:pt x="0" y="12240"/>
                </a:lnTo>
                <a:cubicBezTo>
                  <a:pt x="0" y="12638"/>
                  <a:pt x="367" y="12848"/>
                  <a:pt x="720" y="12960"/>
                </a:cubicBezTo>
                <a:lnTo>
                  <a:pt x="1759" y="13220"/>
                </a:lnTo>
                <a:cubicBezTo>
                  <a:pt x="1973" y="14021"/>
                  <a:pt x="2292" y="14778"/>
                  <a:pt x="2698" y="15479"/>
                </a:cubicBezTo>
                <a:lnTo>
                  <a:pt x="2145" y="16400"/>
                </a:lnTo>
                <a:cubicBezTo>
                  <a:pt x="1959" y="16713"/>
                  <a:pt x="1864" y="17137"/>
                  <a:pt x="2145" y="17419"/>
                </a:cubicBezTo>
                <a:lnTo>
                  <a:pt x="4181" y="19455"/>
                </a:lnTo>
                <a:cubicBezTo>
                  <a:pt x="4305" y="19579"/>
                  <a:pt x="4454" y="19627"/>
                  <a:pt x="4610" y="19627"/>
                </a:cubicBezTo>
                <a:cubicBezTo>
                  <a:pt x="4807" y="19627"/>
                  <a:pt x="5016" y="19550"/>
                  <a:pt x="5200" y="19455"/>
                </a:cubicBezTo>
                <a:lnTo>
                  <a:pt x="6127" y="18899"/>
                </a:lnTo>
                <a:cubicBezTo>
                  <a:pt x="6825" y="19302"/>
                  <a:pt x="7580" y="19619"/>
                  <a:pt x="8378" y="19832"/>
                </a:cubicBezTo>
                <a:lnTo>
                  <a:pt x="8640" y="20880"/>
                </a:lnTo>
                <a:cubicBezTo>
                  <a:pt x="8730" y="21233"/>
                  <a:pt x="8962" y="21600"/>
                  <a:pt x="9360" y="21600"/>
                </a:cubicBezTo>
                <a:lnTo>
                  <a:pt x="12240" y="21600"/>
                </a:lnTo>
                <a:cubicBezTo>
                  <a:pt x="12638" y="21600"/>
                  <a:pt x="12848" y="21233"/>
                  <a:pt x="12960" y="20880"/>
                </a:cubicBezTo>
                <a:lnTo>
                  <a:pt x="13222" y="19832"/>
                </a:lnTo>
                <a:cubicBezTo>
                  <a:pt x="14020" y="19619"/>
                  <a:pt x="14775" y="19302"/>
                  <a:pt x="15473" y="18899"/>
                </a:cubicBezTo>
                <a:lnTo>
                  <a:pt x="16400" y="19455"/>
                </a:lnTo>
                <a:cubicBezTo>
                  <a:pt x="16584" y="19550"/>
                  <a:pt x="16793" y="19627"/>
                  <a:pt x="16990" y="19627"/>
                </a:cubicBezTo>
                <a:cubicBezTo>
                  <a:pt x="17146" y="19627"/>
                  <a:pt x="17294" y="19579"/>
                  <a:pt x="17419" y="19455"/>
                </a:cubicBezTo>
                <a:lnTo>
                  <a:pt x="19455" y="17419"/>
                </a:lnTo>
                <a:cubicBezTo>
                  <a:pt x="19736" y="17137"/>
                  <a:pt x="19641" y="16713"/>
                  <a:pt x="19455" y="16400"/>
                </a:cubicBezTo>
                <a:lnTo>
                  <a:pt x="18902" y="15479"/>
                </a:lnTo>
                <a:cubicBezTo>
                  <a:pt x="19308" y="14778"/>
                  <a:pt x="19626" y="14021"/>
                  <a:pt x="19841" y="13220"/>
                </a:cubicBezTo>
                <a:lnTo>
                  <a:pt x="20880" y="12960"/>
                </a:lnTo>
                <a:cubicBezTo>
                  <a:pt x="21233" y="12848"/>
                  <a:pt x="21600" y="12638"/>
                  <a:pt x="21600" y="12240"/>
                </a:cubicBezTo>
                <a:lnTo>
                  <a:pt x="21600" y="9361"/>
                </a:lnTo>
                <a:cubicBezTo>
                  <a:pt x="21600" y="8962"/>
                  <a:pt x="21233" y="8730"/>
                  <a:pt x="20880" y="8641"/>
                </a:cubicBezTo>
                <a:moveTo>
                  <a:pt x="15709" y="10800"/>
                </a:moveTo>
                <a:cubicBezTo>
                  <a:pt x="15709" y="13346"/>
                  <a:pt x="13771" y="15438"/>
                  <a:pt x="11291" y="15685"/>
                </a:cubicBezTo>
                <a:lnTo>
                  <a:pt x="11291" y="12694"/>
                </a:lnTo>
                <a:cubicBezTo>
                  <a:pt x="12137" y="12476"/>
                  <a:pt x="12764" y="11714"/>
                  <a:pt x="12764" y="10800"/>
                </a:cubicBezTo>
                <a:cubicBezTo>
                  <a:pt x="12764" y="10630"/>
                  <a:pt x="12735" y="10468"/>
                  <a:pt x="12694" y="10310"/>
                </a:cubicBezTo>
                <a:lnTo>
                  <a:pt x="15308" y="8857"/>
                </a:lnTo>
                <a:cubicBezTo>
                  <a:pt x="15565" y="9453"/>
                  <a:pt x="15709" y="10110"/>
                  <a:pt x="15709" y="10800"/>
                </a:cubicBezTo>
                <a:moveTo>
                  <a:pt x="9818" y="10800"/>
                </a:moveTo>
                <a:cubicBezTo>
                  <a:pt x="9818" y="10258"/>
                  <a:pt x="10258" y="9818"/>
                  <a:pt x="10800" y="9818"/>
                </a:cubicBezTo>
                <a:cubicBezTo>
                  <a:pt x="11342" y="9818"/>
                  <a:pt x="11782" y="10258"/>
                  <a:pt x="11782" y="10800"/>
                </a:cubicBezTo>
                <a:cubicBezTo>
                  <a:pt x="11782" y="11342"/>
                  <a:pt x="11342" y="11782"/>
                  <a:pt x="10800" y="11782"/>
                </a:cubicBezTo>
                <a:cubicBezTo>
                  <a:pt x="10258" y="11782"/>
                  <a:pt x="9818" y="11342"/>
                  <a:pt x="9818" y="10800"/>
                </a:cubicBezTo>
                <a:moveTo>
                  <a:pt x="10309" y="15685"/>
                </a:moveTo>
                <a:cubicBezTo>
                  <a:pt x="7829" y="15438"/>
                  <a:pt x="5891" y="13346"/>
                  <a:pt x="5891" y="10800"/>
                </a:cubicBezTo>
                <a:cubicBezTo>
                  <a:pt x="5891" y="10110"/>
                  <a:pt x="6035" y="9453"/>
                  <a:pt x="6292" y="8857"/>
                </a:cubicBezTo>
                <a:lnTo>
                  <a:pt x="8906" y="10310"/>
                </a:lnTo>
                <a:cubicBezTo>
                  <a:pt x="8865" y="10468"/>
                  <a:pt x="8836" y="10630"/>
                  <a:pt x="8836" y="10800"/>
                </a:cubicBezTo>
                <a:cubicBezTo>
                  <a:pt x="8836" y="11714"/>
                  <a:pt x="9463" y="12476"/>
                  <a:pt x="10309" y="12694"/>
                </a:cubicBezTo>
                <a:cubicBezTo>
                  <a:pt x="10309" y="12694"/>
                  <a:pt x="10309" y="15685"/>
                  <a:pt x="10309" y="15685"/>
                </a:cubicBezTo>
                <a:close/>
                <a:moveTo>
                  <a:pt x="10800" y="5891"/>
                </a:moveTo>
                <a:cubicBezTo>
                  <a:pt x="12470" y="5891"/>
                  <a:pt x="13942" y="6727"/>
                  <a:pt x="14829" y="8000"/>
                </a:cubicBezTo>
                <a:lnTo>
                  <a:pt x="12220" y="9450"/>
                </a:lnTo>
                <a:cubicBezTo>
                  <a:pt x="11862" y="9074"/>
                  <a:pt x="11360" y="8836"/>
                  <a:pt x="10800" y="8836"/>
                </a:cubicBezTo>
                <a:cubicBezTo>
                  <a:pt x="10240" y="8836"/>
                  <a:pt x="9738" y="9074"/>
                  <a:pt x="9380" y="9450"/>
                </a:cubicBezTo>
                <a:lnTo>
                  <a:pt x="6771" y="8000"/>
                </a:lnTo>
                <a:cubicBezTo>
                  <a:pt x="7658" y="6727"/>
                  <a:pt x="9130" y="5891"/>
                  <a:pt x="10800" y="5891"/>
                </a:cubicBezTo>
                <a:moveTo>
                  <a:pt x="10800" y="4909"/>
                </a:moveTo>
                <a:cubicBezTo>
                  <a:pt x="7547" y="4909"/>
                  <a:pt x="4909" y="7547"/>
                  <a:pt x="4909" y="10800"/>
                </a:cubicBezTo>
                <a:cubicBezTo>
                  <a:pt x="4909" y="14054"/>
                  <a:pt x="7547" y="16691"/>
                  <a:pt x="10800" y="16691"/>
                </a:cubicBezTo>
                <a:cubicBezTo>
                  <a:pt x="14053" y="16691"/>
                  <a:pt x="16691" y="14054"/>
                  <a:pt x="16691" y="10800"/>
                </a:cubicBezTo>
                <a:cubicBezTo>
                  <a:pt x="16691" y="7547"/>
                  <a:pt x="14053" y="4909"/>
                  <a:pt x="10800" y="4909"/>
                </a:cubicBezTo>
              </a:path>
            </a:pathLst>
          </a:custGeom>
          <a:solidFill>
            <a:schemeClr val="tx1"/>
          </a:solidFill>
          <a:ln w="12700">
            <a:noFill/>
            <a:miter lim="400000"/>
          </a:ln>
        </p:spPr>
        <p:txBody>
          <a:bodyPr lIns="14284" tIns="14284" rIns="14284" bIns="14284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2BDDB077-BFDB-5E46-8457-4D6F029D32B6}"/>
              </a:ext>
            </a:extLst>
          </p:cNvPr>
          <p:cNvSpPr/>
          <p:nvPr/>
        </p:nvSpPr>
        <p:spPr>
          <a:xfrm>
            <a:off x="1174536" y="2624313"/>
            <a:ext cx="1278026" cy="1278026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1DEF57E-A501-B640-9DA8-999FA904BA87}"/>
              </a:ext>
            </a:extLst>
          </p:cNvPr>
          <p:cNvSpPr/>
          <p:nvPr/>
        </p:nvSpPr>
        <p:spPr>
          <a:xfrm>
            <a:off x="3291616" y="2630422"/>
            <a:ext cx="1278026" cy="1278026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5E060EB-05C2-2A48-BD80-95416A9CD594}"/>
              </a:ext>
            </a:extLst>
          </p:cNvPr>
          <p:cNvSpPr/>
          <p:nvPr/>
        </p:nvSpPr>
        <p:spPr>
          <a:xfrm>
            <a:off x="5574492" y="2624313"/>
            <a:ext cx="1278026" cy="1278026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0955B3D-2367-6F43-9AAA-CF3B7EEE535A}"/>
              </a:ext>
            </a:extLst>
          </p:cNvPr>
          <p:cNvSpPr/>
          <p:nvPr/>
        </p:nvSpPr>
        <p:spPr>
          <a:xfrm>
            <a:off x="7821680" y="2599968"/>
            <a:ext cx="1278026" cy="1278026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1271CA68-4E6E-D14A-A2E6-F10F83BE776B}"/>
              </a:ext>
            </a:extLst>
          </p:cNvPr>
          <p:cNvSpPr/>
          <p:nvPr/>
        </p:nvSpPr>
        <p:spPr>
          <a:xfrm>
            <a:off x="9969881" y="2687883"/>
            <a:ext cx="1278026" cy="1278026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17364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82C4C85-4B29-4605-895B-57108A9D7EC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A6449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A12272-BA2C-4FDE-A5F0-54717FCB6FCD}"/>
              </a:ext>
            </a:extLst>
          </p:cNvPr>
          <p:cNvSpPr txBox="1"/>
          <p:nvPr/>
        </p:nvSpPr>
        <p:spPr>
          <a:xfrm>
            <a:off x="359569" y="2124892"/>
            <a:ext cx="11472863" cy="2608217"/>
          </a:xfrm>
          <a:prstGeom prst="rect">
            <a:avLst/>
          </a:prstGeom>
          <a:noFill/>
        </p:spPr>
        <p:txBody>
          <a:bodyPr wrap="square" lIns="45708" tIns="22853" rIns="45708" bIns="22853" rtlCol="0" anchor="ctr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3600" b="1" spc="500" dirty="0">
                <a:solidFill>
                  <a:srgbClr val="77B94B"/>
                </a:solidFill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PROVIDERS:</a:t>
            </a:r>
          </a:p>
          <a:p>
            <a:pPr algn="ctr">
              <a:spcBef>
                <a:spcPts val="600"/>
              </a:spcBef>
            </a:pPr>
            <a:endParaRPr lang="en-US" sz="2000" b="1" spc="500" dirty="0">
              <a:solidFill>
                <a:schemeClr val="bg1"/>
              </a:solidFill>
              <a:latin typeface="Montserrat" pitchFamily="2" charset="77"/>
              <a:ea typeface="Montserrat" charset="0"/>
              <a:cs typeface="Poppins SemiBold" panose="02000000000000000000" pitchFamily="2" charset="0"/>
            </a:endParaRPr>
          </a:p>
          <a:p>
            <a:pPr algn="ctr">
              <a:spcBef>
                <a:spcPts val="600"/>
              </a:spcBef>
            </a:pPr>
            <a:r>
              <a:rPr lang="en-US" sz="4400" spc="500" dirty="0">
                <a:solidFill>
                  <a:schemeClr val="bg1"/>
                </a:solidFill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PROCESS, PRACTICE, AND PERFORMANCE</a:t>
            </a:r>
          </a:p>
        </p:txBody>
      </p:sp>
    </p:spTree>
    <p:extLst>
      <p:ext uri="{BB962C8B-B14F-4D97-AF65-F5344CB8AC3E}">
        <p14:creationId xmlns:p14="http://schemas.microsoft.com/office/powerpoint/2010/main" val="2810482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One does not simply boost their revenue cycle - One Does Not Simply | Meme  Generator">
            <a:extLst>
              <a:ext uri="{FF2B5EF4-FFF2-40B4-BE49-F238E27FC236}">
                <a16:creationId xmlns:a16="http://schemas.microsoft.com/office/drawing/2014/main" id="{A8CFF905-7D26-4E7A-86BB-C959395EEA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9873" y="1281364"/>
            <a:ext cx="4295271" cy="4295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81072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DEDCCC8-9F1E-364E-BE5A-A36CB8891FA7}"/>
              </a:ext>
            </a:extLst>
          </p:cNvPr>
          <p:cNvCxnSpPr>
            <a:cxnSpLocks/>
          </p:cNvCxnSpPr>
          <p:nvPr/>
        </p:nvCxnSpPr>
        <p:spPr>
          <a:xfrm>
            <a:off x="2877312" y="1565623"/>
            <a:ext cx="0" cy="5214937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557A50A-8F04-5F4C-96F8-FF41534EB9DA}"/>
              </a:ext>
            </a:extLst>
          </p:cNvPr>
          <p:cNvCxnSpPr>
            <a:cxnSpLocks/>
          </p:cNvCxnSpPr>
          <p:nvPr/>
        </p:nvCxnSpPr>
        <p:spPr>
          <a:xfrm>
            <a:off x="0" y="4173092"/>
            <a:ext cx="12192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FEDE21B-5388-F645-9E86-822EBE72BEF2}"/>
              </a:ext>
            </a:extLst>
          </p:cNvPr>
          <p:cNvCxnSpPr>
            <a:cxnSpLocks/>
          </p:cNvCxnSpPr>
          <p:nvPr/>
        </p:nvCxnSpPr>
        <p:spPr>
          <a:xfrm>
            <a:off x="7257" y="1565623"/>
            <a:ext cx="12192000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379DEC46-55BF-3149-9AB1-25B214A6DF22}"/>
              </a:ext>
            </a:extLst>
          </p:cNvPr>
          <p:cNvSpPr txBox="1"/>
          <p:nvPr/>
        </p:nvSpPr>
        <p:spPr>
          <a:xfrm>
            <a:off x="0" y="2721484"/>
            <a:ext cx="2859024" cy="403957"/>
          </a:xfrm>
          <a:prstGeom prst="rect">
            <a:avLst/>
          </a:prstGeom>
          <a:noFill/>
          <a:ln>
            <a:noFill/>
          </a:ln>
        </p:spPr>
        <p:txBody>
          <a:bodyPr wrap="square" lIns="34290" tIns="17145" rIns="34290" bIns="17145" rtlCol="0">
            <a:spAutoFit/>
          </a:bodyPr>
          <a:lstStyle/>
          <a:p>
            <a:pPr algn="ctr" defTabSz="456210">
              <a:spcBef>
                <a:spcPts val="600"/>
              </a:spcBef>
            </a:pPr>
            <a:r>
              <a:rPr lang="en-US" sz="2400" b="1" spc="300" dirty="0">
                <a:solidFill>
                  <a:srgbClr val="595959"/>
                </a:solidFill>
                <a:latin typeface="Poppins Medium" panose="02000000000000000000" pitchFamily="2" charset="0"/>
                <a:ea typeface="Montserrat" charset="0"/>
                <a:cs typeface="Poppins Medium" panose="02000000000000000000" pitchFamily="2" charset="0"/>
              </a:rPr>
              <a:t>WH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E137D14-EE6D-CE4F-B9E1-9FCEE56B3E0C}"/>
              </a:ext>
            </a:extLst>
          </p:cNvPr>
          <p:cNvSpPr txBox="1"/>
          <p:nvPr/>
        </p:nvSpPr>
        <p:spPr>
          <a:xfrm>
            <a:off x="0" y="5300092"/>
            <a:ext cx="2859024" cy="403957"/>
          </a:xfrm>
          <a:prstGeom prst="rect">
            <a:avLst/>
          </a:prstGeom>
          <a:noFill/>
          <a:ln>
            <a:noFill/>
          </a:ln>
        </p:spPr>
        <p:txBody>
          <a:bodyPr wrap="square" lIns="34290" tIns="17145" rIns="34290" bIns="17145" rtlCol="0">
            <a:spAutoFit/>
          </a:bodyPr>
          <a:lstStyle/>
          <a:p>
            <a:pPr algn="ctr" defTabSz="456210">
              <a:spcBef>
                <a:spcPts val="600"/>
              </a:spcBef>
            </a:pPr>
            <a:r>
              <a:rPr lang="en-US" sz="2400" b="1" spc="300" dirty="0">
                <a:solidFill>
                  <a:srgbClr val="595959"/>
                </a:solidFill>
                <a:latin typeface="Poppins Medium" panose="02000000000000000000" pitchFamily="2" charset="0"/>
                <a:ea typeface="Montserrat" charset="0"/>
                <a:cs typeface="Poppins Medium" panose="02000000000000000000" pitchFamily="2" charset="0"/>
              </a:rPr>
              <a:t>HOW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48CCA5F-F8A3-4B51-87F5-6F702887ED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Drivers &amp; Catalysts for Change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EA273E91-C0D5-4481-81DA-60D504667E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7806909"/>
              </p:ext>
            </p:extLst>
          </p:nvPr>
        </p:nvGraphicFramePr>
        <p:xfrm>
          <a:off x="3084903" y="1565623"/>
          <a:ext cx="9326551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19B08A4C-FF7B-4CAF-BE74-026A10F7BDB7}"/>
              </a:ext>
            </a:extLst>
          </p:cNvPr>
          <p:cNvSpPr/>
          <p:nvPr/>
        </p:nvSpPr>
        <p:spPr>
          <a:xfrm>
            <a:off x="9144000" y="6241775"/>
            <a:ext cx="2839013" cy="4719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352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82C4C85-4B29-4605-895B-57108A9D7EC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A6449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A12272-BA2C-4FDE-A5F0-54717FCB6FCD}"/>
              </a:ext>
            </a:extLst>
          </p:cNvPr>
          <p:cNvSpPr txBox="1"/>
          <p:nvPr/>
        </p:nvSpPr>
        <p:spPr>
          <a:xfrm>
            <a:off x="0" y="2039171"/>
            <a:ext cx="12192000" cy="2608217"/>
          </a:xfrm>
          <a:prstGeom prst="rect">
            <a:avLst/>
          </a:prstGeom>
          <a:noFill/>
        </p:spPr>
        <p:txBody>
          <a:bodyPr wrap="square" lIns="45708" tIns="22853" rIns="45708" bIns="22853" rtlCol="0" anchor="ctr">
            <a:noAutofit/>
          </a:bodyPr>
          <a:lstStyle/>
          <a:p>
            <a:pPr algn="ctr"/>
            <a:r>
              <a:rPr lang="en-US" sz="4800" b="1" spc="500" dirty="0">
                <a:solidFill>
                  <a:srgbClr val="77B94B"/>
                </a:solidFill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02.</a:t>
            </a:r>
          </a:p>
          <a:p>
            <a:pPr algn="ctr"/>
            <a:endParaRPr lang="en-US" sz="3200" b="1" spc="500" dirty="0">
              <a:solidFill>
                <a:schemeClr val="bg1"/>
              </a:solidFill>
              <a:latin typeface="Montserrat" pitchFamily="2" charset="77"/>
              <a:ea typeface="Montserrat" charset="0"/>
              <a:cs typeface="Poppins SemiBold" panose="02000000000000000000" pitchFamily="2" charset="0"/>
            </a:endParaRPr>
          </a:p>
          <a:p>
            <a:pPr algn="ctr"/>
            <a:r>
              <a:rPr lang="en-US" sz="5400" spc="500" dirty="0">
                <a:solidFill>
                  <a:schemeClr val="bg1"/>
                </a:solidFill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PAYERS</a:t>
            </a:r>
          </a:p>
        </p:txBody>
      </p:sp>
    </p:spTree>
    <p:extLst>
      <p:ext uri="{BB962C8B-B14F-4D97-AF65-F5344CB8AC3E}">
        <p14:creationId xmlns:p14="http://schemas.microsoft.com/office/powerpoint/2010/main" val="32534021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5">
            <a:extLst>
              <a:ext uri="{FF2B5EF4-FFF2-40B4-BE49-F238E27FC236}">
                <a16:creationId xmlns:a16="http://schemas.microsoft.com/office/drawing/2014/main" id="{8C896D92-0C94-EB4D-BC9A-8C9EC581A6E5}"/>
              </a:ext>
            </a:extLst>
          </p:cNvPr>
          <p:cNvSpPr txBox="1"/>
          <p:nvPr/>
        </p:nvSpPr>
        <p:spPr>
          <a:xfrm>
            <a:off x="5050632" y="574515"/>
            <a:ext cx="67508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5400" b="1" dirty="0">
                <a:solidFill>
                  <a:srgbClr val="92D050"/>
                </a:solidFill>
                <a:latin typeface="Montserrat Semi" charset="0"/>
                <a:ea typeface="Montserrat Semi" charset="0"/>
                <a:cs typeface="Montserrat Semi" charset="0"/>
              </a:rPr>
              <a:t>Payer Trends</a:t>
            </a:r>
            <a:endParaRPr kumimoji="0" lang="en-US" sz="5400" b="1" u="none" strike="noStrike" kern="1200" cap="none" spc="0" normalizeH="0" baseline="0" noProof="0" dirty="0">
              <a:ln>
                <a:noFill/>
              </a:ln>
              <a:solidFill>
                <a:srgbClr val="92D050"/>
              </a:solidFill>
              <a:effectLst/>
              <a:uLnTx/>
              <a:uFillTx/>
              <a:latin typeface="Montserrat" pitchFamily="2" charset="77"/>
              <a:ea typeface="Montserrat Semi" charset="0"/>
              <a:cs typeface="Montserrat Semi" charset="0"/>
            </a:endParaRPr>
          </a:p>
        </p:txBody>
      </p:sp>
      <p:sp>
        <p:nvSpPr>
          <p:cNvPr id="3" name="TextBox 15">
            <a:extLst>
              <a:ext uri="{FF2B5EF4-FFF2-40B4-BE49-F238E27FC236}">
                <a16:creationId xmlns:a16="http://schemas.microsoft.com/office/drawing/2014/main" id="{594AD902-66A9-674B-A5CF-933E59952258}"/>
              </a:ext>
            </a:extLst>
          </p:cNvPr>
          <p:cNvSpPr txBox="1"/>
          <p:nvPr/>
        </p:nvSpPr>
        <p:spPr>
          <a:xfrm>
            <a:off x="5050633" y="2169424"/>
            <a:ext cx="6550819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Ever-changing coverage and billing policies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Narrowly designed plans or provider networks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Shifting Risk: Emphasis on value-based contracting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Shifting care outside the hospital setting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Increasing Payer and Provider Partnerships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C7C7B84-4A91-F844-9E40-4461A0D80AA4}"/>
              </a:ext>
            </a:extLst>
          </p:cNvPr>
          <p:cNvCxnSpPr>
            <a:cxnSpLocks/>
          </p:cNvCxnSpPr>
          <p:nvPr/>
        </p:nvCxnSpPr>
        <p:spPr>
          <a:xfrm>
            <a:off x="5162832" y="1685925"/>
            <a:ext cx="1166532" cy="0"/>
          </a:xfrm>
          <a:prstGeom prst="line">
            <a:avLst/>
          </a:prstGeom>
          <a:ln w="57150">
            <a:solidFill>
              <a:srgbClr val="0A64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D6767E9-09D7-7144-893B-631449C500B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4471059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CA7497-4080-4443-8C48-60DF3A6BC16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447106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1795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82C4C85-4B29-4605-895B-57108A9D7EC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A6449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A12272-BA2C-4FDE-A5F0-54717FCB6FCD}"/>
              </a:ext>
            </a:extLst>
          </p:cNvPr>
          <p:cNvSpPr txBox="1"/>
          <p:nvPr/>
        </p:nvSpPr>
        <p:spPr>
          <a:xfrm>
            <a:off x="359569" y="2124892"/>
            <a:ext cx="11472863" cy="2608217"/>
          </a:xfrm>
          <a:prstGeom prst="rect">
            <a:avLst/>
          </a:prstGeom>
          <a:noFill/>
        </p:spPr>
        <p:txBody>
          <a:bodyPr wrap="square" lIns="45708" tIns="22853" rIns="45708" bIns="22853" rtlCol="0" anchor="ctr">
            <a:noAutofit/>
          </a:bodyPr>
          <a:lstStyle/>
          <a:p>
            <a:pPr algn="ctr">
              <a:spcBef>
                <a:spcPts val="600"/>
              </a:spcBef>
            </a:pPr>
            <a:r>
              <a:rPr lang="en-US" sz="3600" b="1" spc="500" dirty="0">
                <a:solidFill>
                  <a:srgbClr val="77B94B"/>
                </a:solidFill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PATIENTS:</a:t>
            </a:r>
          </a:p>
          <a:p>
            <a:pPr algn="ctr">
              <a:spcBef>
                <a:spcPts val="600"/>
              </a:spcBef>
            </a:pPr>
            <a:endParaRPr lang="en-US" sz="2000" b="1" spc="500" dirty="0">
              <a:solidFill>
                <a:schemeClr val="bg1"/>
              </a:solidFill>
              <a:latin typeface="Montserrat" pitchFamily="2" charset="77"/>
              <a:ea typeface="Montserrat" charset="0"/>
              <a:cs typeface="Poppins SemiBold" panose="02000000000000000000" pitchFamily="2" charset="0"/>
            </a:endParaRPr>
          </a:p>
          <a:p>
            <a:pPr algn="ctr">
              <a:spcBef>
                <a:spcPts val="600"/>
              </a:spcBef>
            </a:pPr>
            <a:r>
              <a:rPr lang="en-US" sz="4400" spc="500" dirty="0">
                <a:solidFill>
                  <a:schemeClr val="bg1"/>
                </a:solidFill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ENHANCING EXPERIENCE</a:t>
            </a:r>
          </a:p>
        </p:txBody>
      </p:sp>
    </p:spTree>
    <p:extLst>
      <p:ext uri="{BB962C8B-B14F-4D97-AF65-F5344CB8AC3E}">
        <p14:creationId xmlns:p14="http://schemas.microsoft.com/office/powerpoint/2010/main" val="3455210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E0925A8-1DF2-4DE1-B84D-0DC5B0A53196}"/>
              </a:ext>
            </a:extLst>
          </p:cNvPr>
          <p:cNvCxnSpPr>
            <a:cxnSpLocks/>
          </p:cNvCxnSpPr>
          <p:nvPr/>
        </p:nvCxnSpPr>
        <p:spPr>
          <a:xfrm>
            <a:off x="6096000" y="1497551"/>
            <a:ext cx="0" cy="1270880"/>
          </a:xfrm>
          <a:prstGeom prst="line">
            <a:avLst/>
          </a:prstGeom>
          <a:ln w="25400" cap="rnd">
            <a:solidFill>
              <a:schemeClr val="accent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6136D78-9ECA-40F5-9FFA-70041DFF35EC}"/>
              </a:ext>
            </a:extLst>
          </p:cNvPr>
          <p:cNvCxnSpPr>
            <a:cxnSpLocks/>
          </p:cNvCxnSpPr>
          <p:nvPr/>
        </p:nvCxnSpPr>
        <p:spPr>
          <a:xfrm>
            <a:off x="6096000" y="3030831"/>
            <a:ext cx="0" cy="1270880"/>
          </a:xfrm>
          <a:prstGeom prst="line">
            <a:avLst/>
          </a:prstGeom>
          <a:ln w="25400" cap="rnd">
            <a:solidFill>
              <a:schemeClr val="accent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1F55AAD-6947-49BC-8B1C-2A848AE8F530}"/>
              </a:ext>
            </a:extLst>
          </p:cNvPr>
          <p:cNvCxnSpPr>
            <a:cxnSpLocks/>
          </p:cNvCxnSpPr>
          <p:nvPr/>
        </p:nvCxnSpPr>
        <p:spPr>
          <a:xfrm>
            <a:off x="6285885" y="2874753"/>
            <a:ext cx="5296515" cy="0"/>
          </a:xfrm>
          <a:prstGeom prst="line">
            <a:avLst/>
          </a:prstGeom>
          <a:ln w="25400" cap="rnd">
            <a:solidFill>
              <a:schemeClr val="accent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89CBE333-47A5-45A5-9A34-5E9CD902AB2A}"/>
              </a:ext>
            </a:extLst>
          </p:cNvPr>
          <p:cNvCxnSpPr>
            <a:cxnSpLocks/>
          </p:cNvCxnSpPr>
          <p:nvPr/>
        </p:nvCxnSpPr>
        <p:spPr>
          <a:xfrm>
            <a:off x="609601" y="2874753"/>
            <a:ext cx="5296515" cy="0"/>
          </a:xfrm>
          <a:prstGeom prst="line">
            <a:avLst/>
          </a:prstGeom>
          <a:ln w="25400" cap="rnd">
            <a:solidFill>
              <a:schemeClr val="accent5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9A4A3774-182F-4B35-A000-219D38B29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Heard | Industry Trend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6E9B9D-E1C3-4EA5-8C0C-C039416D21FF}"/>
              </a:ext>
            </a:extLst>
          </p:cNvPr>
          <p:cNvSpPr txBox="1"/>
          <p:nvPr/>
        </p:nvSpPr>
        <p:spPr>
          <a:xfrm>
            <a:off x="840799" y="1828191"/>
            <a:ext cx="3901440" cy="609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354">
              <a:defRPr/>
            </a:pPr>
            <a:r>
              <a:rPr lang="en-US" sz="1867" dirty="0">
                <a:solidFill>
                  <a:srgbClr val="53555C"/>
                </a:solidFill>
                <a:latin typeface="Poppins"/>
                <a:cs typeface="Poppins Light" panose="02000000000000000000" pitchFamily="2" charset="0"/>
              </a:rPr>
              <a:t>COVID-19 Impa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6108AC-96E2-4804-98DD-B9B187795658}"/>
              </a:ext>
            </a:extLst>
          </p:cNvPr>
          <p:cNvSpPr txBox="1"/>
          <p:nvPr/>
        </p:nvSpPr>
        <p:spPr>
          <a:xfrm>
            <a:off x="840799" y="3361471"/>
            <a:ext cx="3901440" cy="609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354">
              <a:defRPr/>
            </a:pPr>
            <a:r>
              <a:rPr lang="en-US" sz="1867" dirty="0">
                <a:solidFill>
                  <a:srgbClr val="53555C"/>
                </a:solidFill>
                <a:latin typeface="Poppins"/>
                <a:cs typeface="Poppins Light" panose="02000000000000000000" pitchFamily="2" charset="0"/>
              </a:rPr>
              <a:t>Finding Operational Efficienc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70C99E-CC2B-4ED4-A526-90A009D94FA8}"/>
              </a:ext>
            </a:extLst>
          </p:cNvPr>
          <p:cNvSpPr txBox="1"/>
          <p:nvPr/>
        </p:nvSpPr>
        <p:spPr>
          <a:xfrm>
            <a:off x="7435267" y="1828191"/>
            <a:ext cx="3901440" cy="609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14354">
              <a:defRPr/>
            </a:pPr>
            <a:r>
              <a:rPr lang="en-US" sz="1867" dirty="0">
                <a:solidFill>
                  <a:srgbClr val="53555C"/>
                </a:solidFill>
                <a:latin typeface="Poppins"/>
                <a:cs typeface="Poppins Light" panose="02000000000000000000" pitchFamily="2" charset="0"/>
              </a:rPr>
              <a:t>Future Plann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5208A5-28DE-4E60-ABFE-C8C5AE963ED2}"/>
              </a:ext>
            </a:extLst>
          </p:cNvPr>
          <p:cNvSpPr txBox="1"/>
          <p:nvPr/>
        </p:nvSpPr>
        <p:spPr>
          <a:xfrm>
            <a:off x="7435267" y="3361471"/>
            <a:ext cx="3901440" cy="6096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14354">
              <a:defRPr/>
            </a:pPr>
            <a:r>
              <a:rPr lang="en-US" sz="1867" dirty="0">
                <a:solidFill>
                  <a:srgbClr val="53555C"/>
                </a:solidFill>
                <a:latin typeface="Poppins"/>
                <a:cs typeface="Poppins Light" panose="02000000000000000000" pitchFamily="2" charset="0"/>
              </a:rPr>
              <a:t>New Technology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DC5531C-5E2F-4B96-ACB3-6550B226671A}"/>
              </a:ext>
            </a:extLst>
          </p:cNvPr>
          <p:cNvGrpSpPr/>
          <p:nvPr/>
        </p:nvGrpSpPr>
        <p:grpSpPr>
          <a:xfrm>
            <a:off x="4870605" y="1645311"/>
            <a:ext cx="975360" cy="975360"/>
            <a:chOff x="3652954" y="1493850"/>
            <a:chExt cx="731520" cy="73152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476DD92-7F77-45BA-BE15-DC84C9D853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52954" y="1493850"/>
              <a:ext cx="731520" cy="7315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/>
              <a:endParaRPr lang="en-US" sz="3200">
                <a:solidFill>
                  <a:srgbClr val="FFFFFF"/>
                </a:solidFill>
                <a:latin typeface="Poppins Light"/>
              </a:endParaRPr>
            </a:p>
          </p:txBody>
        </p:sp>
        <p:pic>
          <p:nvPicPr>
            <p:cNvPr id="7" name="Picture 6" descr="Icon&#10;&#10;Description automatically generated">
              <a:extLst>
                <a:ext uri="{FF2B5EF4-FFF2-40B4-BE49-F238E27FC236}">
                  <a16:creationId xmlns:a16="http://schemas.microsoft.com/office/drawing/2014/main" id="{4FB0C568-92DF-4FF3-A5C0-73305F2C90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98674" y="1539570"/>
              <a:ext cx="640080" cy="64008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2D02D1-A4F8-4F8A-B59F-355ECB93EFA4}"/>
              </a:ext>
            </a:extLst>
          </p:cNvPr>
          <p:cNvGrpSpPr/>
          <p:nvPr/>
        </p:nvGrpSpPr>
        <p:grpSpPr>
          <a:xfrm>
            <a:off x="4870605" y="3239551"/>
            <a:ext cx="975360" cy="975360"/>
            <a:chOff x="3652954" y="2689530"/>
            <a:chExt cx="731520" cy="73152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3319B7A-7E3C-4736-A92A-A167EBAEBC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52954" y="2689530"/>
              <a:ext cx="731520" cy="7315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/>
              <a:endParaRPr lang="en-US" sz="3200">
                <a:solidFill>
                  <a:srgbClr val="FFFFFF"/>
                </a:solidFill>
                <a:latin typeface="Poppins Light"/>
              </a:endParaRPr>
            </a:p>
          </p:txBody>
        </p:sp>
        <p:pic>
          <p:nvPicPr>
            <p:cNvPr id="17" name="Picture 16" descr="Icon&#10;&#10;Description automatically generated">
              <a:extLst>
                <a:ext uri="{FF2B5EF4-FFF2-40B4-BE49-F238E27FC236}">
                  <a16:creationId xmlns:a16="http://schemas.microsoft.com/office/drawing/2014/main" id="{7DA1564B-4847-4637-8164-4161E6F719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98674" y="2735250"/>
              <a:ext cx="640080" cy="64008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409BC87-71DC-4C94-9396-53F64FA96B27}"/>
              </a:ext>
            </a:extLst>
          </p:cNvPr>
          <p:cNvGrpSpPr/>
          <p:nvPr/>
        </p:nvGrpSpPr>
        <p:grpSpPr>
          <a:xfrm>
            <a:off x="6346036" y="1645311"/>
            <a:ext cx="975360" cy="975360"/>
            <a:chOff x="4759527" y="1493850"/>
            <a:chExt cx="731520" cy="73152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2D660D43-72CA-42FF-B433-4B200F3014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59527" y="1493850"/>
              <a:ext cx="731520" cy="7315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/>
              <a:endParaRPr lang="en-US" sz="3200">
                <a:solidFill>
                  <a:srgbClr val="FFFFFF"/>
                </a:solidFill>
                <a:latin typeface="Poppins Light"/>
              </a:endParaRPr>
            </a:p>
          </p:txBody>
        </p:sp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0E1BABAF-84B7-4338-9218-EFE334637DE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7187" y="1539570"/>
              <a:ext cx="640080" cy="64008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40C4CC6-7C67-4F6D-8A53-2CB7C9FA59AD}"/>
              </a:ext>
            </a:extLst>
          </p:cNvPr>
          <p:cNvGrpSpPr/>
          <p:nvPr/>
        </p:nvGrpSpPr>
        <p:grpSpPr>
          <a:xfrm>
            <a:off x="6335289" y="3239551"/>
            <a:ext cx="975360" cy="975360"/>
            <a:chOff x="4751467" y="2689530"/>
            <a:chExt cx="731520" cy="731520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37F92A1B-7966-440F-B5E5-7A4A9ADB70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51467" y="2689530"/>
              <a:ext cx="731520" cy="73152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40"/>
              <a:endParaRPr lang="en-US" sz="3200">
                <a:solidFill>
                  <a:srgbClr val="FFFFFF"/>
                </a:solidFill>
                <a:latin typeface="Poppins Light"/>
              </a:endParaRPr>
            </a:p>
          </p:txBody>
        </p:sp>
        <p:pic>
          <p:nvPicPr>
            <p:cNvPr id="21" name="Picture 20" descr="Icon&#10;&#10;Description automatically generated">
              <a:extLst>
                <a:ext uri="{FF2B5EF4-FFF2-40B4-BE49-F238E27FC236}">
                  <a16:creationId xmlns:a16="http://schemas.microsoft.com/office/drawing/2014/main" id="{9B36F0D1-34B4-4BBF-926A-927ACE67AB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6230" y="2735250"/>
              <a:ext cx="641995" cy="640080"/>
            </a:xfrm>
            <a:prstGeom prst="rect">
              <a:avLst/>
            </a:prstGeom>
          </p:spPr>
        </p:pic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C0FC2C47-AD3E-4DE1-B99B-383937274F4B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3716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5">
            <a:extLst>
              <a:ext uri="{FF2B5EF4-FFF2-40B4-BE49-F238E27FC236}">
                <a16:creationId xmlns:a16="http://schemas.microsoft.com/office/drawing/2014/main" id="{8C896D92-0C94-EB4D-BC9A-8C9EC581A6E5}"/>
              </a:ext>
            </a:extLst>
          </p:cNvPr>
          <p:cNvSpPr txBox="1"/>
          <p:nvPr/>
        </p:nvSpPr>
        <p:spPr>
          <a:xfrm>
            <a:off x="550068" y="574515"/>
            <a:ext cx="67508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4000" b="1" dirty="0">
                <a:solidFill>
                  <a:schemeClr val="accent1"/>
                </a:solidFill>
                <a:latin typeface="Montserrat Semi" charset="0"/>
                <a:ea typeface="Montserrat Semi" charset="0"/>
                <a:cs typeface="Montserrat Semi" charset="0"/>
              </a:rPr>
              <a:t>Consumerism </a:t>
            </a:r>
            <a:br>
              <a:rPr lang="en-US" sz="4000" b="1" dirty="0">
                <a:solidFill>
                  <a:schemeClr val="accent1"/>
                </a:solidFill>
                <a:latin typeface="Montserrat Semi" charset="0"/>
                <a:ea typeface="Montserrat Semi" charset="0"/>
                <a:cs typeface="Montserrat Semi" charset="0"/>
              </a:rPr>
            </a:br>
            <a:r>
              <a:rPr lang="en-US" sz="4000" b="1" dirty="0">
                <a:solidFill>
                  <a:schemeClr val="accent1"/>
                </a:solidFill>
                <a:latin typeface="Montserrat Semi" charset="0"/>
                <a:ea typeface="Montserrat Semi" charset="0"/>
                <a:cs typeface="Montserrat Semi" charset="0"/>
              </a:rPr>
              <a:t>in Healthcare</a:t>
            </a:r>
            <a:endParaRPr kumimoji="0" lang="en-US" sz="400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Montserrat" pitchFamily="2" charset="77"/>
              <a:ea typeface="Montserrat Semi" charset="0"/>
              <a:cs typeface="Montserrat Semi" charset="0"/>
            </a:endParaRPr>
          </a:p>
        </p:txBody>
      </p:sp>
      <p:sp>
        <p:nvSpPr>
          <p:cNvPr id="3" name="TextBox 15">
            <a:extLst>
              <a:ext uri="{FF2B5EF4-FFF2-40B4-BE49-F238E27FC236}">
                <a16:creationId xmlns:a16="http://schemas.microsoft.com/office/drawing/2014/main" id="{594AD902-66A9-674B-A5CF-933E59952258}"/>
              </a:ext>
            </a:extLst>
          </p:cNvPr>
          <p:cNvSpPr txBox="1"/>
          <p:nvPr/>
        </p:nvSpPr>
        <p:spPr>
          <a:xfrm>
            <a:off x="550070" y="2698063"/>
            <a:ext cx="471124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Immediate Access to Care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Digital Healthcare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Cost of Care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Health Data Ownership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Montserrat" pitchFamily="2" charset="77"/>
              </a:rPr>
              <a:t>Precision Medicin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C7C7B84-4A91-F844-9E40-4461A0D80AA4}"/>
              </a:ext>
            </a:extLst>
          </p:cNvPr>
          <p:cNvCxnSpPr>
            <a:cxnSpLocks/>
          </p:cNvCxnSpPr>
          <p:nvPr/>
        </p:nvCxnSpPr>
        <p:spPr>
          <a:xfrm>
            <a:off x="662268" y="2214564"/>
            <a:ext cx="3909732" cy="0"/>
          </a:xfrm>
          <a:prstGeom prst="line">
            <a:avLst/>
          </a:prstGeom>
          <a:ln w="57150">
            <a:solidFill>
              <a:srgbClr val="0A64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BEE356B8-B229-E04C-9470-1433D065884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15250" y="0"/>
            <a:ext cx="447675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805F55-4F9E-458A-AE41-F080352CB7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1154" y="0"/>
            <a:ext cx="675084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6706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FDF740E-6B29-4389-94F9-03112AD826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20" y="539025"/>
            <a:ext cx="10262359" cy="5779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7248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227E9F-77BA-4FE3-9945-14A7BEDA5F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How much medical debt do we owe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1EEDE4-5A5D-4C5F-BF75-2276CAA268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1" y="2730413"/>
            <a:ext cx="11217850" cy="42432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9600" dirty="0">
                <a:latin typeface="Verdana Pro Cond Black" panose="020B0604020202020204" pitchFamily="34" charset="0"/>
              </a:rPr>
              <a:t>$140,000,000,00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E478568-0BAD-43D8-A3BA-8A7569FB06E7}"/>
              </a:ext>
            </a:extLst>
          </p:cNvPr>
          <p:cNvSpPr txBox="1"/>
          <p:nvPr/>
        </p:nvSpPr>
        <p:spPr>
          <a:xfrm>
            <a:off x="1353761" y="6263401"/>
            <a:ext cx="6692348" cy="2923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100" dirty="0"/>
              <a:t>JAMA 7/20/21</a:t>
            </a:r>
          </a:p>
          <a:p>
            <a:r>
              <a:rPr lang="en-US" sz="700" dirty="0">
                <a:hlinkClick r:id="rId3"/>
              </a:rPr>
              <a:t>https://jamanetwork.com/journals/jama/article-abstract/2782187</a:t>
            </a:r>
            <a:endParaRPr lang="en-US" sz="700" dirty="0"/>
          </a:p>
          <a:p>
            <a:endParaRPr lang="en-US" sz="1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E3F53E-E345-4313-B68F-2797D3CEDDA2}"/>
              </a:ext>
            </a:extLst>
          </p:cNvPr>
          <p:cNvSpPr/>
          <p:nvPr/>
        </p:nvSpPr>
        <p:spPr>
          <a:xfrm>
            <a:off x="8928365" y="6134277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66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D54CC4D-9392-4030-954D-3166FFD4AB55}"/>
              </a:ext>
            </a:extLst>
          </p:cNvPr>
          <p:cNvGraphicFramePr/>
          <p:nvPr/>
        </p:nvGraphicFramePr>
        <p:xfrm>
          <a:off x="595087" y="483805"/>
          <a:ext cx="10621987" cy="5260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455122-C180-4BA3-A115-EE77733EA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specifically how much do we owe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E3F478-1544-4F5E-98F6-B927D28D0953}"/>
              </a:ext>
            </a:extLst>
          </p:cNvPr>
          <p:cNvSpPr txBox="1"/>
          <p:nvPr/>
        </p:nvSpPr>
        <p:spPr>
          <a:xfrm>
            <a:off x="1353761" y="6278791"/>
            <a:ext cx="6692348" cy="26161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100" dirty="0"/>
              <a:t>Debt.com survey of 1,186 Americans between 6/17 – 7/6/20 published in USA Today 9/20/20</a:t>
            </a:r>
          </a:p>
          <a:p>
            <a:r>
              <a:rPr lang="en-US" sz="600" dirty="0">
                <a:hlinkClick r:id="rId4"/>
              </a:rPr>
              <a:t>https://www.usatoday.com/story/money/2020/09/18/unemployment-americans-face-45-b-worth-medical-debt-collections/3480192001/</a:t>
            </a:r>
            <a:r>
              <a:rPr lang="en-US" sz="600" dirty="0"/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89C555-569A-48EE-8C17-8EC5F6BC1434}"/>
              </a:ext>
            </a:extLst>
          </p:cNvPr>
          <p:cNvSpPr txBox="1"/>
          <p:nvPr/>
        </p:nvSpPr>
        <p:spPr>
          <a:xfrm>
            <a:off x="4992254" y="5769901"/>
            <a:ext cx="2207491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b="1" dirty="0">
                <a:solidFill>
                  <a:srgbClr val="000000"/>
                </a:solidFill>
              </a:rPr>
              <a:t>$5,000-$10,000</a:t>
            </a:r>
          </a:p>
          <a:p>
            <a:pPr algn="ctr"/>
            <a:r>
              <a:rPr lang="en-US" b="1" dirty="0">
                <a:solidFill>
                  <a:srgbClr val="000000"/>
                </a:solidFill>
              </a:rPr>
              <a:t>15%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3FD726D-E281-4269-9A4E-FD1112950F73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7595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5">
            <a:extLst>
              <a:ext uri="{FF2B5EF4-FFF2-40B4-BE49-F238E27FC236}">
                <a16:creationId xmlns:a16="http://schemas.microsoft.com/office/drawing/2014/main" id="{8C896D92-0C94-EB4D-BC9A-8C9EC581A6E5}"/>
              </a:ext>
            </a:extLst>
          </p:cNvPr>
          <p:cNvSpPr txBox="1"/>
          <p:nvPr/>
        </p:nvSpPr>
        <p:spPr>
          <a:xfrm>
            <a:off x="5050633" y="460238"/>
            <a:ext cx="400947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 defTabSz="1828434">
              <a:defRPr sz="3600" b="1">
                <a:solidFill>
                  <a:schemeClr val="bg2"/>
                </a:solidFill>
                <a:latin typeface="Poppins Light" panose="02000000000000000000" pitchFamily="2" charset="0"/>
                <a:ea typeface="Montserrat Semi" charset="0"/>
                <a:cs typeface="Poppins Light" panose="02000000000000000000" pitchFamily="2" charset="0"/>
              </a:defRPr>
            </a:lvl1pPr>
            <a:lvl2pPr marL="914217" defTabSz="1828434">
              <a:defRPr sz="3600"/>
            </a:lvl2pPr>
            <a:lvl3pPr marL="1828434" defTabSz="1828434">
              <a:defRPr sz="3600"/>
            </a:lvl3pPr>
            <a:lvl4pPr marL="2742651" defTabSz="1828434">
              <a:defRPr sz="3600"/>
            </a:lvl4pPr>
            <a:lvl5pPr marL="3656868" defTabSz="1828434">
              <a:defRPr sz="3600"/>
            </a:lvl5pPr>
            <a:lvl6pPr marL="4571086" defTabSz="1828434">
              <a:defRPr sz="3600"/>
            </a:lvl6pPr>
            <a:lvl7pPr marL="5485303" defTabSz="1828434">
              <a:defRPr sz="3600"/>
            </a:lvl7pPr>
            <a:lvl8pPr marL="6399520" defTabSz="1828434">
              <a:defRPr sz="3600"/>
            </a:lvl8pPr>
            <a:lvl9pPr marL="7313737" defTabSz="1828434">
              <a:defRPr sz="3600"/>
            </a:lvl9pPr>
          </a:lstStyle>
          <a:p>
            <a:r>
              <a:rPr lang="en-US" b="0" dirty="0"/>
              <a:t>Patient Healthcare </a:t>
            </a:r>
          </a:p>
          <a:p>
            <a:r>
              <a:rPr lang="en-US" b="0" dirty="0"/>
              <a:t>Trends</a:t>
            </a:r>
          </a:p>
        </p:txBody>
      </p:sp>
      <p:sp>
        <p:nvSpPr>
          <p:cNvPr id="3" name="TextBox 15">
            <a:extLst>
              <a:ext uri="{FF2B5EF4-FFF2-40B4-BE49-F238E27FC236}">
                <a16:creationId xmlns:a16="http://schemas.microsoft.com/office/drawing/2014/main" id="{594AD902-66A9-674B-A5CF-933E59952258}"/>
              </a:ext>
            </a:extLst>
          </p:cNvPr>
          <p:cNvSpPr txBox="1"/>
          <p:nvPr/>
        </p:nvSpPr>
        <p:spPr>
          <a:xfrm>
            <a:off x="5050633" y="2698063"/>
            <a:ext cx="6550819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Poppins" panose="02000000000000000000" pitchFamily="2" charset="0"/>
                <a:cs typeface="Poppins" panose="02000000000000000000" pitchFamily="2" charset="0"/>
              </a:rPr>
              <a:t>Shift in who pays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Poppins" panose="02000000000000000000" pitchFamily="2" charset="0"/>
                <a:cs typeface="Poppins" panose="02000000000000000000" pitchFamily="2" charset="0"/>
              </a:rPr>
              <a:t>Price transparency and simplification of statements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Poppins" panose="02000000000000000000" pitchFamily="2" charset="0"/>
                <a:cs typeface="Poppins" panose="02000000000000000000" pitchFamily="2" charset="0"/>
              </a:rPr>
              <a:t>New patient payment models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Poppins" panose="02000000000000000000" pitchFamily="2" charset="0"/>
                <a:cs typeface="Poppins" panose="02000000000000000000" pitchFamily="2" charset="0"/>
              </a:rPr>
              <a:t>Connection between patient satisfaction and payments </a:t>
            </a:r>
          </a:p>
          <a:p>
            <a:pPr marL="285750" indent="-285750">
              <a:spcBef>
                <a:spcPts val="600"/>
              </a:spcBef>
              <a:buClr>
                <a:srgbClr val="0A6449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Poppins" panose="02000000000000000000" pitchFamily="2" charset="0"/>
                <a:cs typeface="Poppins" panose="02000000000000000000" pitchFamily="2" charset="0"/>
              </a:rPr>
              <a:t>Employer defined benefit pla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C7C7B84-4A91-F844-9E40-4461A0D80AA4}"/>
              </a:ext>
            </a:extLst>
          </p:cNvPr>
          <p:cNvCxnSpPr>
            <a:cxnSpLocks/>
          </p:cNvCxnSpPr>
          <p:nvPr/>
        </p:nvCxnSpPr>
        <p:spPr>
          <a:xfrm>
            <a:off x="5162832" y="2214564"/>
            <a:ext cx="1166532" cy="0"/>
          </a:xfrm>
          <a:prstGeom prst="line">
            <a:avLst/>
          </a:prstGeom>
          <a:ln w="57150">
            <a:solidFill>
              <a:srgbClr val="0A64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591F6E2-A9A7-4140-8B41-359234A0964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"/>
            <a:ext cx="4476750" cy="6857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8630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Yea.....revenue cycle .........................no - Bill Lumbergh | Meme  Generator">
            <a:extLst>
              <a:ext uri="{FF2B5EF4-FFF2-40B4-BE49-F238E27FC236}">
                <a16:creationId xmlns:a16="http://schemas.microsoft.com/office/drawing/2014/main" id="{5E969FF3-05C6-4CC9-8C08-0B8AE81083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772" y="1258196"/>
            <a:ext cx="5010150" cy="419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864235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75EB5FA0-37CC-40B3-B88A-6AA47D868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Poppins Light" panose="02000000000000000000" pitchFamily="2" charset="0"/>
                <a:cs typeface="Poppins Light" panose="02000000000000000000" pitchFamily="2" charset="0"/>
              </a:rPr>
              <a:t>Patients Want More Option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D63F7EE-0643-46E0-8996-F771CD1E4244}"/>
              </a:ext>
            </a:extLst>
          </p:cNvPr>
          <p:cNvGrpSpPr/>
          <p:nvPr/>
        </p:nvGrpSpPr>
        <p:grpSpPr>
          <a:xfrm>
            <a:off x="638071" y="1161526"/>
            <a:ext cx="10958844" cy="696767"/>
            <a:chOff x="457200" y="1292864"/>
            <a:chExt cx="10958844" cy="696767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7DDCA34-D460-4103-ACB0-648A56602F25}"/>
                </a:ext>
              </a:extLst>
            </p:cNvPr>
            <p:cNvSpPr/>
            <p:nvPr/>
          </p:nvSpPr>
          <p:spPr>
            <a:xfrm>
              <a:off x="817825" y="1292864"/>
              <a:ext cx="10598219" cy="696767"/>
            </a:xfrm>
            <a:prstGeom prst="rect">
              <a:avLst/>
            </a:prstGeom>
          </p:spPr>
          <p:txBody>
            <a:bodyPr wrap="square" lIns="0" rIns="0">
              <a:noAutofit/>
            </a:bodyPr>
            <a:lstStyle/>
            <a:p>
              <a:pPr marL="2576385" indent="-2576385" defTabSz="914354">
                <a:defRPr/>
              </a:pPr>
              <a:r>
                <a:rPr lang="en-US" sz="2200" dirty="0">
                  <a:solidFill>
                    <a:srgbClr val="00B5E2"/>
                  </a:solidFill>
                  <a:latin typeface="Poppins Light" panose="02000000000000000000" pitchFamily="2" charset="0"/>
                  <a:cs typeface="Poppins Light" panose="02000000000000000000" pitchFamily="2" charset="0"/>
                </a:rPr>
                <a:t>New Best Practice: </a:t>
              </a:r>
              <a:r>
                <a:rPr lang="en-US" sz="2200" dirty="0">
                  <a:solidFill>
                    <a:srgbClr val="00B5E2"/>
                  </a:solidFill>
                  <a:latin typeface="Poppins SemiBold" panose="02000000000000000000" pitchFamily="2" charset="0"/>
                  <a:cs typeface="Poppins SemiBold" panose="02000000000000000000" pitchFamily="2" charset="0"/>
                </a:rPr>
                <a:t>Initiate Discounts, Payment Plans, IVR &amp; Patient Loans at ALL Patient Touchpoints</a:t>
              </a:r>
            </a:p>
            <a:p>
              <a:pPr defTabSz="914354">
                <a:defRPr/>
              </a:pPr>
              <a:endParaRPr lang="en-US" sz="2200" dirty="0">
                <a:solidFill>
                  <a:srgbClr val="00B5E2"/>
                </a:solidFill>
                <a:latin typeface="Poppins SemiBold" panose="02000000000000000000" pitchFamily="2" charset="0"/>
                <a:cs typeface="Poppins SemiBold" panose="02000000000000000000" pitchFamily="2" charset="0"/>
              </a:endParaRPr>
            </a:p>
          </p:txBody>
        </p:sp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97EBFAEF-3F38-406F-B9F0-AFD8E0B1F32C}"/>
                </a:ext>
              </a:extLst>
            </p:cNvPr>
            <p:cNvSpPr/>
            <p:nvPr/>
          </p:nvSpPr>
          <p:spPr>
            <a:xfrm>
              <a:off x="457200" y="1355610"/>
              <a:ext cx="215077" cy="258092"/>
            </a:xfrm>
            <a:prstGeom prst="chevron">
              <a:avLst/>
            </a:prstGeom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54">
                <a:defRPr/>
              </a:pPr>
              <a:endParaRPr lang="en-US" kern="0" dirty="0">
                <a:solidFill>
                  <a:srgbClr val="53555C"/>
                </a:solidFill>
                <a:latin typeface="Poppins"/>
              </a:endParaRPr>
            </a:p>
          </p:txBody>
        </p:sp>
      </p:grp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C433E39-64C7-4882-8E89-431BC91A0D0A}"/>
              </a:ext>
            </a:extLst>
          </p:cNvPr>
          <p:cNvGraphicFramePr/>
          <p:nvPr/>
        </p:nvGraphicFramePr>
        <p:xfrm>
          <a:off x="611119" y="2189741"/>
          <a:ext cx="27432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854DAD8-8327-4A34-A333-024D7DB8DADF}"/>
              </a:ext>
            </a:extLst>
          </p:cNvPr>
          <p:cNvGraphicFramePr/>
          <p:nvPr/>
        </p:nvGraphicFramePr>
        <p:xfrm>
          <a:off x="3357579" y="2189741"/>
          <a:ext cx="27432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7CCD2CC-F582-49FD-A15B-0C7435D811F6}"/>
              </a:ext>
            </a:extLst>
          </p:cNvPr>
          <p:cNvSpPr/>
          <p:nvPr/>
        </p:nvSpPr>
        <p:spPr>
          <a:xfrm>
            <a:off x="631896" y="4799177"/>
            <a:ext cx="2377440" cy="1168775"/>
          </a:xfrm>
          <a:prstGeom prst="rect">
            <a:avLst/>
          </a:prstGeom>
        </p:spPr>
        <p:txBody>
          <a:bodyPr wrap="square" lIns="0" rIns="457200">
            <a:noAutofit/>
          </a:bodyPr>
          <a:lstStyle/>
          <a:p>
            <a:pPr defTabSz="914354">
              <a:defRPr sz="1862" b="0" i="0" u="none" strike="noStrike" kern="1200" spc="0" baseline="0">
                <a:solidFill>
                  <a:srgbClr val="53555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rgbClr val="006747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Providers see up to 90% boosts in payments when offering patients discounts at POS.</a:t>
            </a:r>
          </a:p>
          <a:p>
            <a:pPr defTabSz="914354">
              <a:defRPr sz="1862" b="0" i="0" u="none" strike="noStrike" kern="1200" spc="0" baseline="0">
                <a:solidFill>
                  <a:srgbClr val="53555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endParaRPr lang="en-US" sz="1200" dirty="0">
              <a:solidFill>
                <a:srgbClr val="006747"/>
              </a:solidFill>
              <a:latin typeface="Poppins" panose="02000000000000000000" pitchFamily="2" charset="0"/>
              <a:cs typeface="Poppins" panose="02000000000000000000" pitchFamily="2" charset="0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58CADE-5F8E-4FDF-8CE7-9D67800279DE}"/>
              </a:ext>
            </a:extLst>
          </p:cNvPr>
          <p:cNvCxnSpPr>
            <a:cxnSpLocks/>
          </p:cNvCxnSpPr>
          <p:nvPr/>
        </p:nvCxnSpPr>
        <p:spPr>
          <a:xfrm flipH="1">
            <a:off x="3358238" y="2575768"/>
            <a:ext cx="1" cy="3108960"/>
          </a:xfrm>
          <a:prstGeom prst="line">
            <a:avLst/>
          </a:prstGeom>
          <a:ln w="2222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140F5D4-7C21-4B43-B4CD-46CD299EA490}"/>
              </a:ext>
            </a:extLst>
          </p:cNvPr>
          <p:cNvCxnSpPr>
            <a:cxnSpLocks/>
          </p:cNvCxnSpPr>
          <p:nvPr/>
        </p:nvCxnSpPr>
        <p:spPr>
          <a:xfrm flipH="1">
            <a:off x="6104461" y="2575768"/>
            <a:ext cx="3" cy="3108960"/>
          </a:xfrm>
          <a:prstGeom prst="line">
            <a:avLst/>
          </a:prstGeom>
          <a:ln w="2222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C7F447A-5777-4A0C-855A-C75E6B92D84B}"/>
              </a:ext>
            </a:extLst>
          </p:cNvPr>
          <p:cNvCxnSpPr>
            <a:cxnSpLocks/>
          </p:cNvCxnSpPr>
          <p:nvPr/>
        </p:nvCxnSpPr>
        <p:spPr>
          <a:xfrm flipH="1">
            <a:off x="8850690" y="2575768"/>
            <a:ext cx="1" cy="3108960"/>
          </a:xfrm>
          <a:prstGeom prst="line">
            <a:avLst/>
          </a:prstGeom>
          <a:ln w="22225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195E2C1F-0C02-4439-8CFC-8CBB4E64F0AE}"/>
              </a:ext>
            </a:extLst>
          </p:cNvPr>
          <p:cNvGraphicFramePr/>
          <p:nvPr/>
        </p:nvGraphicFramePr>
        <p:xfrm>
          <a:off x="6102619" y="2189741"/>
          <a:ext cx="27432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8603D906-36FD-41F2-9806-A8B7CE74D863}"/>
              </a:ext>
            </a:extLst>
          </p:cNvPr>
          <p:cNvGraphicFramePr/>
          <p:nvPr/>
        </p:nvGraphicFramePr>
        <p:xfrm>
          <a:off x="8847661" y="2189741"/>
          <a:ext cx="27432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191CB8DA-9328-4000-B429-65CEBB1D0083}"/>
              </a:ext>
            </a:extLst>
          </p:cNvPr>
          <p:cNvSpPr txBox="1"/>
          <p:nvPr/>
        </p:nvSpPr>
        <p:spPr>
          <a:xfrm>
            <a:off x="1135477" y="3299738"/>
            <a:ext cx="1697327" cy="61555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 defTabSz="914354">
              <a:defRPr/>
            </a:pPr>
            <a:r>
              <a:rPr lang="en-US" sz="4000" dirty="0">
                <a:solidFill>
                  <a:srgbClr val="006747"/>
                </a:solidFill>
                <a:latin typeface="Poppins Medium" panose="02000000000000000000" pitchFamily="2" charset="0"/>
                <a:cs typeface="Poppins Medium" panose="02000000000000000000" pitchFamily="2" charset="0"/>
              </a:rPr>
              <a:t>90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DF7B074-1A87-4092-97A5-67EA57EEECD2}"/>
              </a:ext>
            </a:extLst>
          </p:cNvPr>
          <p:cNvSpPr txBox="1"/>
          <p:nvPr/>
        </p:nvSpPr>
        <p:spPr>
          <a:xfrm>
            <a:off x="3880518" y="3299738"/>
            <a:ext cx="1697327" cy="61555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 defTabSz="914354">
              <a:defRPr/>
            </a:pPr>
            <a:r>
              <a:rPr lang="en-US" sz="4000" dirty="0">
                <a:solidFill>
                  <a:srgbClr val="78BE43"/>
                </a:solidFill>
                <a:latin typeface="Poppins Medium" panose="02000000000000000000" pitchFamily="2" charset="0"/>
                <a:cs typeface="Poppins Medium" panose="02000000000000000000" pitchFamily="2" charset="0"/>
              </a:rPr>
              <a:t>92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59A3FF4-550E-47B7-8BBF-2EF160458301}"/>
              </a:ext>
            </a:extLst>
          </p:cNvPr>
          <p:cNvSpPr txBox="1"/>
          <p:nvPr/>
        </p:nvSpPr>
        <p:spPr>
          <a:xfrm>
            <a:off x="6625559" y="3299738"/>
            <a:ext cx="1697327" cy="61555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 defTabSz="914354">
              <a:defRPr/>
            </a:pPr>
            <a:r>
              <a:rPr lang="en-US" sz="4000" dirty="0">
                <a:solidFill>
                  <a:srgbClr val="00B5E2"/>
                </a:solidFill>
                <a:latin typeface="Poppins Medium" panose="02000000000000000000" pitchFamily="2" charset="0"/>
                <a:cs typeface="Poppins Medium" panose="02000000000000000000" pitchFamily="2" charset="0"/>
              </a:rPr>
              <a:t>64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41F8EF8-9B95-4863-8941-EAB94FC4A9FF}"/>
              </a:ext>
            </a:extLst>
          </p:cNvPr>
          <p:cNvSpPr txBox="1"/>
          <p:nvPr/>
        </p:nvSpPr>
        <p:spPr>
          <a:xfrm>
            <a:off x="9370601" y="3299738"/>
            <a:ext cx="1697327" cy="61555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 defTabSz="914354">
              <a:defRPr/>
            </a:pPr>
            <a:r>
              <a:rPr lang="en-US" sz="4000" dirty="0">
                <a:solidFill>
                  <a:srgbClr val="FFCF0B"/>
                </a:solidFill>
                <a:latin typeface="Poppins Medium" panose="02000000000000000000" pitchFamily="2" charset="0"/>
                <a:cs typeface="Poppins Medium" panose="02000000000000000000" pitchFamily="2" charset="0"/>
              </a:rPr>
              <a:t>54%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08117AF-D4C7-498A-A0BA-1E937EF109EF}"/>
              </a:ext>
            </a:extLst>
          </p:cNvPr>
          <p:cNvSpPr/>
          <p:nvPr/>
        </p:nvSpPr>
        <p:spPr>
          <a:xfrm>
            <a:off x="3482932" y="4799177"/>
            <a:ext cx="2377440" cy="1168775"/>
          </a:xfrm>
          <a:prstGeom prst="rect">
            <a:avLst/>
          </a:prstGeom>
        </p:spPr>
        <p:txBody>
          <a:bodyPr wrap="square" lIns="0" rIns="457200">
            <a:noAutofit/>
          </a:bodyPr>
          <a:lstStyle/>
          <a:p>
            <a:pPr defTabSz="914354">
              <a:defRPr sz="1862" b="0" i="0" u="none" strike="noStrike" kern="1200" spc="0" baseline="0">
                <a:solidFill>
                  <a:srgbClr val="53555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rgbClr val="78BE43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92% of patients would return to a healthcare facility that offers a loan program.</a:t>
            </a:r>
          </a:p>
          <a:p>
            <a:pPr defTabSz="914354">
              <a:defRPr sz="1862" b="0" i="0" u="none" strike="noStrike" kern="1200" spc="0" baseline="0">
                <a:solidFill>
                  <a:srgbClr val="53555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endParaRPr lang="en-US" sz="1200" dirty="0">
              <a:solidFill>
                <a:srgbClr val="78BE43"/>
              </a:solidFill>
              <a:latin typeface="Poppins" panose="02000000000000000000" pitchFamily="2" charset="0"/>
              <a:cs typeface="Poppins" panose="02000000000000000000" pitchFamily="2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7B2AF49-54BD-4FF3-8E39-3E4E63094447}"/>
              </a:ext>
            </a:extLst>
          </p:cNvPr>
          <p:cNvSpPr/>
          <p:nvPr/>
        </p:nvSpPr>
        <p:spPr>
          <a:xfrm>
            <a:off x="6263691" y="4799177"/>
            <a:ext cx="2377440" cy="1168775"/>
          </a:xfrm>
          <a:prstGeom prst="rect">
            <a:avLst/>
          </a:prstGeom>
        </p:spPr>
        <p:txBody>
          <a:bodyPr wrap="square" lIns="0" rIns="457200">
            <a:noAutofit/>
          </a:bodyPr>
          <a:lstStyle/>
          <a:p>
            <a:pPr defTabSz="914354">
              <a:defRPr sz="1862" b="0" i="0" u="none" strike="noStrike" kern="1200" spc="0" baseline="0">
                <a:solidFill>
                  <a:srgbClr val="53555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rgbClr val="00B5E2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64% of patients want flexible payments.</a:t>
            </a:r>
          </a:p>
          <a:p>
            <a:pPr defTabSz="914354">
              <a:defRPr sz="1862" b="0" i="0" u="none" strike="noStrike" kern="1200" spc="0" baseline="0">
                <a:solidFill>
                  <a:srgbClr val="53555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endParaRPr lang="en-US" sz="1200" dirty="0">
              <a:solidFill>
                <a:srgbClr val="00B5E2"/>
              </a:solidFill>
              <a:latin typeface="Poppins" panose="02000000000000000000" pitchFamily="2" charset="0"/>
              <a:cs typeface="Poppins" panose="02000000000000000000" pitchFamily="2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A19FCC-804E-412B-A196-D05ACB2B510D}"/>
              </a:ext>
            </a:extLst>
          </p:cNvPr>
          <p:cNvSpPr/>
          <p:nvPr/>
        </p:nvSpPr>
        <p:spPr>
          <a:xfrm>
            <a:off x="8965884" y="4799177"/>
            <a:ext cx="2488699" cy="1168775"/>
          </a:xfrm>
          <a:prstGeom prst="rect">
            <a:avLst/>
          </a:prstGeom>
        </p:spPr>
        <p:txBody>
          <a:bodyPr wrap="square" lIns="0" rIns="457200">
            <a:noAutofit/>
          </a:bodyPr>
          <a:lstStyle/>
          <a:p>
            <a:pPr defTabSz="914354">
              <a:defRPr sz="1862" b="0" i="0" u="none" strike="noStrike" kern="1200" spc="0" baseline="0">
                <a:solidFill>
                  <a:srgbClr val="53555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>
                <a:solidFill>
                  <a:srgbClr val="53555C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Providers see 54% more electronic payments when patients have the option to pay by phone or text.</a:t>
            </a:r>
          </a:p>
          <a:p>
            <a:pPr defTabSz="914354">
              <a:defRPr sz="1862" b="0" i="0" u="none" strike="noStrike" kern="1200" spc="0" baseline="0">
                <a:solidFill>
                  <a:srgbClr val="53555C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endParaRPr lang="en-US" sz="1200" dirty="0">
              <a:solidFill>
                <a:srgbClr val="53555C"/>
              </a:solidFill>
              <a:latin typeface="Poppins" panose="02000000000000000000" pitchFamily="2" charset="0"/>
              <a:cs typeface="Poppins" panose="02000000000000000000" pitchFamily="2" charset="0"/>
            </a:endParaRPr>
          </a:p>
        </p:txBody>
      </p:sp>
      <p:pic>
        <p:nvPicPr>
          <p:cNvPr id="37" name="Picture 36" descr="A picture containing text&#10;&#10;Description automatically generated">
            <a:extLst>
              <a:ext uri="{FF2B5EF4-FFF2-40B4-BE49-F238E27FC236}">
                <a16:creationId xmlns:a16="http://schemas.microsoft.com/office/drawing/2014/main" id="{CF4B05C9-0B9D-42F7-9F3B-D259EBA4B18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267" y="4628428"/>
            <a:ext cx="1099567" cy="1097280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B187858A-58C8-4304-8AB8-343F0F48B89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0888" y="4628428"/>
            <a:ext cx="1097280" cy="1097280"/>
          </a:xfrm>
          <a:prstGeom prst="rect">
            <a:avLst/>
          </a:prstGeom>
        </p:spPr>
      </p:pic>
      <p:pic>
        <p:nvPicPr>
          <p:cNvPr id="41" name="Picture 40" descr="A picture containing text&#10;&#10;Description automatically generated">
            <a:extLst>
              <a:ext uri="{FF2B5EF4-FFF2-40B4-BE49-F238E27FC236}">
                <a16:creationId xmlns:a16="http://schemas.microsoft.com/office/drawing/2014/main" id="{B3EF5485-F4A3-42F5-A269-6F449B8E699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4835" y="4628428"/>
            <a:ext cx="1097280" cy="1097280"/>
          </a:xfrm>
          <a:prstGeom prst="rect">
            <a:avLst/>
          </a:prstGeom>
        </p:spPr>
      </p:pic>
      <p:pic>
        <p:nvPicPr>
          <p:cNvPr id="43" name="Picture 42" descr="Icon&#10;&#10;Description automatically generated">
            <a:extLst>
              <a:ext uri="{FF2B5EF4-FFF2-40B4-BE49-F238E27FC236}">
                <a16:creationId xmlns:a16="http://schemas.microsoft.com/office/drawing/2014/main" id="{D38235DF-E719-4CC7-A88F-679827ADB7B5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3536" y="4628428"/>
            <a:ext cx="1097280" cy="109728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D64F8FEB-E935-473E-93B8-AC23F2A142F6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6675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5">
            <a:extLst>
              <a:ext uri="{FF2B5EF4-FFF2-40B4-BE49-F238E27FC236}">
                <a16:creationId xmlns:a16="http://schemas.microsoft.com/office/drawing/2014/main" id="{8C896D92-0C94-EB4D-BC9A-8C9EC581A6E5}"/>
              </a:ext>
            </a:extLst>
          </p:cNvPr>
          <p:cNvSpPr txBox="1"/>
          <p:nvPr/>
        </p:nvSpPr>
        <p:spPr>
          <a:xfrm>
            <a:off x="550070" y="615694"/>
            <a:ext cx="6750845" cy="199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50000"/>
              </a:lnSpc>
              <a:defRPr/>
            </a:pPr>
            <a:r>
              <a:rPr lang="en-US" sz="5400" b="1" dirty="0">
                <a:solidFill>
                  <a:srgbClr val="92D050"/>
                </a:solidFill>
                <a:latin typeface="Montserrat Semi" charset="0"/>
                <a:ea typeface="Montserrat Semi" charset="0"/>
                <a:cs typeface="Montserrat Semi" charset="0"/>
              </a:rPr>
              <a:t>Patient Experience: </a:t>
            </a:r>
          </a:p>
          <a:p>
            <a:pPr lvl="0">
              <a:lnSpc>
                <a:spcPct val="150000"/>
              </a:lnSpc>
              <a:defRPr/>
            </a:pPr>
            <a:r>
              <a:rPr lang="en-US" sz="3200" b="1" dirty="0">
                <a:solidFill>
                  <a:srgbClr val="000000"/>
                </a:solidFill>
                <a:latin typeface="Montserrat" pitchFamily="2" charset="77"/>
                <a:ea typeface="Montserrat Semi" charset="0"/>
                <a:cs typeface="Montserrat Semi" charset="0"/>
              </a:rPr>
              <a:t>Collection Conversations</a:t>
            </a:r>
            <a:endParaRPr kumimoji="0" lang="en-US" sz="3200" b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Montserrat Semi" charset="0"/>
              <a:cs typeface="Montserrat Semi" charset="0"/>
            </a:endParaRPr>
          </a:p>
        </p:txBody>
      </p:sp>
      <p:sp>
        <p:nvSpPr>
          <p:cNvPr id="3" name="TextBox 15">
            <a:extLst>
              <a:ext uri="{FF2B5EF4-FFF2-40B4-BE49-F238E27FC236}">
                <a16:creationId xmlns:a16="http://schemas.microsoft.com/office/drawing/2014/main" id="{594AD902-66A9-674B-A5CF-933E59952258}"/>
              </a:ext>
            </a:extLst>
          </p:cNvPr>
          <p:cNvSpPr txBox="1"/>
          <p:nvPr/>
        </p:nvSpPr>
        <p:spPr>
          <a:xfrm>
            <a:off x="407289" y="3057056"/>
            <a:ext cx="593495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600"/>
              </a:spcBef>
              <a:buClr>
                <a:srgbClr val="0A6449"/>
              </a:buClr>
              <a:buFont typeface="+mj-lt"/>
              <a:buAutoNum type="arabicPeriod"/>
            </a:pPr>
            <a:r>
              <a:rPr lang="en-US" sz="2400" dirty="0">
                <a:latin typeface="Montserrat" pitchFamily="2" charset="77"/>
              </a:rPr>
              <a:t>Insurance follow-up </a:t>
            </a:r>
          </a:p>
          <a:p>
            <a:pPr marL="342900" indent="-342900">
              <a:spcBef>
                <a:spcPts val="600"/>
              </a:spcBef>
              <a:buClr>
                <a:srgbClr val="0A6449"/>
              </a:buClr>
              <a:buFont typeface="+mj-lt"/>
              <a:buAutoNum type="arabicPeriod"/>
            </a:pPr>
            <a:r>
              <a:rPr lang="en-US" sz="2400" dirty="0">
                <a:latin typeface="Montserrat" pitchFamily="2" charset="77"/>
              </a:rPr>
              <a:t>Patient insurance information request</a:t>
            </a:r>
          </a:p>
          <a:p>
            <a:pPr marL="342900" indent="-342900">
              <a:spcBef>
                <a:spcPts val="600"/>
              </a:spcBef>
              <a:buClr>
                <a:srgbClr val="0A6449"/>
              </a:buClr>
              <a:buFont typeface="+mj-lt"/>
              <a:buAutoNum type="arabicPeriod"/>
            </a:pPr>
            <a:r>
              <a:rPr lang="en-US" sz="2400" dirty="0">
                <a:latin typeface="Montserrat" pitchFamily="2" charset="77"/>
              </a:rPr>
              <a:t>Proactively reaching out to identify potential issues and find solutions</a:t>
            </a:r>
          </a:p>
          <a:p>
            <a:pPr marL="342900" indent="-342900">
              <a:spcBef>
                <a:spcPts val="600"/>
              </a:spcBef>
              <a:buClr>
                <a:srgbClr val="0A6449"/>
              </a:buClr>
              <a:buFont typeface="+mj-lt"/>
              <a:buAutoNum type="arabicPeriod"/>
            </a:pPr>
            <a:r>
              <a:rPr lang="en-US" sz="2400" dirty="0">
                <a:latin typeface="Montserrat" pitchFamily="2" charset="77"/>
              </a:rPr>
              <a:t>Transparency regarding non-covered charges </a:t>
            </a:r>
          </a:p>
          <a:p>
            <a:pPr marL="342900" indent="-342900">
              <a:spcBef>
                <a:spcPts val="600"/>
              </a:spcBef>
              <a:buClr>
                <a:srgbClr val="0A6449"/>
              </a:buClr>
              <a:buFont typeface="+mj-lt"/>
              <a:buAutoNum type="arabicPeriod"/>
            </a:pPr>
            <a:r>
              <a:rPr lang="en-US" sz="2400" dirty="0">
                <a:latin typeface="Montserrat" pitchFamily="2" charset="77"/>
              </a:rPr>
              <a:t>Improves patient experienc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4A2E23-B358-478B-9A05-88FD671065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05342" y="0"/>
            <a:ext cx="557062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26735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A1409F5-191D-48F0-B0E7-B2716ED2B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Patients are Seeking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7B18993E-89E8-44C6-8426-EC446E4696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3134905"/>
              </p:ext>
            </p:extLst>
          </p:nvPr>
        </p:nvGraphicFramePr>
        <p:xfrm>
          <a:off x="0" y="1438656"/>
          <a:ext cx="11582400" cy="4614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D9194C48-0D44-4427-8BC4-434AB4FF1831}"/>
              </a:ext>
            </a:extLst>
          </p:cNvPr>
          <p:cNvSpPr/>
          <p:nvPr/>
        </p:nvSpPr>
        <p:spPr>
          <a:xfrm>
            <a:off x="8640419" y="6105429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2058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227E9F-77BA-4FE3-9945-14A7BEDA5F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Increasing Focus on Consumerism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1EEDE4-5A5D-4C5F-BF75-2276CAA268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" y="1816274"/>
            <a:ext cx="6047232" cy="4243214"/>
          </a:xfrm>
        </p:spPr>
        <p:txBody>
          <a:bodyPr>
            <a:normAutofit/>
          </a:bodyPr>
          <a:lstStyle/>
          <a:p>
            <a:pPr marL="457200" indent="-457200"/>
            <a:r>
              <a:rPr lang="en-US" dirty="0"/>
              <a:t>COVID-19</a:t>
            </a:r>
          </a:p>
          <a:p>
            <a:pPr marL="457200" indent="-457200"/>
            <a:endParaRPr lang="en-US" sz="600" dirty="0"/>
          </a:p>
          <a:p>
            <a:pPr marL="457200" indent="-457200"/>
            <a:r>
              <a:rPr lang="en-US" dirty="0"/>
              <a:t>Rise in patient out-of-pocket responsibility</a:t>
            </a:r>
          </a:p>
          <a:p>
            <a:pPr marL="457200" indent="-457200"/>
            <a:endParaRPr lang="en-US" sz="600" dirty="0"/>
          </a:p>
          <a:p>
            <a:pPr marL="457200" indent="-457200"/>
            <a:r>
              <a:rPr lang="en-US" dirty="0"/>
              <a:t>New patient payment models</a:t>
            </a:r>
          </a:p>
          <a:p>
            <a:pPr marL="457200" indent="-457200"/>
            <a:endParaRPr lang="en-US" sz="600" dirty="0"/>
          </a:p>
          <a:p>
            <a:pPr marL="457200" indent="-457200"/>
            <a:r>
              <a:rPr lang="en-US" dirty="0"/>
              <a:t>Price transparency and simplification of statements</a:t>
            </a:r>
          </a:p>
          <a:p>
            <a:pPr marL="457200" indent="-457200"/>
            <a:endParaRPr lang="en-US" sz="600" dirty="0"/>
          </a:p>
          <a:p>
            <a:pPr marL="457200" indent="-457200"/>
            <a:r>
              <a:rPr lang="en-US" dirty="0"/>
              <a:t>Connection between patient satisfaction and payments </a:t>
            </a:r>
          </a:p>
          <a:p>
            <a:pPr marL="457200" indent="-457200"/>
            <a:endParaRPr lang="en-US" sz="800" dirty="0"/>
          </a:p>
          <a:p>
            <a:pPr marL="457200" indent="-457200"/>
            <a:r>
              <a:rPr lang="en-US" dirty="0"/>
              <a:t>Patients requesting more options</a:t>
            </a:r>
          </a:p>
          <a:p>
            <a:pPr marL="457200" indent="-457200"/>
            <a:endParaRPr lang="en-US" sz="800" dirty="0"/>
          </a:p>
          <a:p>
            <a:pPr marL="457200" indent="-457200"/>
            <a:r>
              <a:rPr lang="en-US" dirty="0"/>
              <a:t>Staff seeking more options for patients</a:t>
            </a:r>
          </a:p>
          <a:p>
            <a:endParaRPr lang="en-US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D4DF815-B84E-42D8-88AC-28F38A05085D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6939236" y="1905000"/>
            <a:ext cx="4655590" cy="4154488"/>
          </a:xfrm>
          <a:prstGeom prst="rect">
            <a:avLst/>
          </a:prstGeom>
          <a:ln>
            <a:solidFill>
              <a:srgbClr val="0A6449"/>
            </a:solidFill>
          </a:ln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122A5D4-B4DE-4A55-BA1E-A07C55B79505}"/>
              </a:ext>
            </a:extLst>
          </p:cNvPr>
          <p:cNvSpPr/>
          <p:nvPr/>
        </p:nvSpPr>
        <p:spPr>
          <a:xfrm>
            <a:off x="8759688" y="6124913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8775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5637266-D7FA-4D79-90AE-9A430477F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umer’s Hierarchy of Payment Priorit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F1249B3-13DC-426C-B218-C1F01203D722}"/>
              </a:ext>
            </a:extLst>
          </p:cNvPr>
          <p:cNvGrpSpPr/>
          <p:nvPr/>
        </p:nvGrpSpPr>
        <p:grpSpPr>
          <a:xfrm>
            <a:off x="849086" y="1386840"/>
            <a:ext cx="8653405" cy="4084320"/>
            <a:chOff x="1285851" y="1524000"/>
            <a:chExt cx="8653405" cy="4084320"/>
          </a:xfrm>
        </p:grpSpPr>
        <p:graphicFrame>
          <p:nvGraphicFramePr>
            <p:cNvPr id="10" name="Content Placeholder 15">
              <a:extLst>
                <a:ext uri="{FF2B5EF4-FFF2-40B4-BE49-F238E27FC236}">
                  <a16:creationId xmlns:a16="http://schemas.microsoft.com/office/drawing/2014/main" id="{1C945DEF-D057-40A1-9F4F-0C0BB1617A2E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738131842"/>
                </p:ext>
              </p:extLst>
            </p:nvPr>
          </p:nvGraphicFramePr>
          <p:xfrm>
            <a:off x="2690846" y="1524000"/>
            <a:ext cx="7248410" cy="4084320"/>
          </p:xfrm>
          <a:graphic>
            <a:graphicData uri="http://schemas.openxmlformats.org/drawingml/2006/table">
              <a:tbl>
                <a:tblPr firstRow="1" firstCol="1"/>
                <a:tblGrid>
                  <a:gridCol w="921658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6326752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</a:tblGrid>
                <a:tr h="431222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ctr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1</a:t>
                        </a:r>
                      </a:p>
                    </a:txBody>
                    <a:tcPr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l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Mortgage / Rent</a:t>
                        </a:r>
                      </a:p>
                    </a:txBody>
                    <a:tcPr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431222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ctr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2</a:t>
                        </a:r>
                      </a:p>
                    </a:txBody>
                    <a:tcPr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l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Auto Loan / Lease</a:t>
                        </a:r>
                      </a:p>
                    </a:txBody>
                    <a:tcPr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431222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ctr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3</a:t>
                        </a:r>
                      </a:p>
                    </a:txBody>
                    <a:tcPr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l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Utility Bills</a:t>
                        </a:r>
                      </a:p>
                    </a:txBody>
                    <a:tcPr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431222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ctr">
                          <a:lnSpc>
                            <a:spcPct val="150000"/>
                          </a:lnSpc>
                          <a:tabLst>
                            <a:tab pos="117475" algn="l"/>
                            <a:tab pos="460375" algn="dec"/>
                          </a:tabLst>
                        </a:pPr>
                        <a:r>
                          <a:rPr lang="en-US" sz="2000" b="1" dirty="0">
                            <a:solidFill>
                              <a:schemeClr val="bg1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4</a:t>
                        </a:r>
                      </a:p>
                    </a:txBody>
                    <a:tcPr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006747">
                          <a:alpha val="90000"/>
                        </a:srgb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l">
                          <a:tabLst>
                            <a:tab pos="460375" algn="dec"/>
                          </a:tabLst>
                        </a:pPr>
                        <a:r>
                          <a:rPr lang="en-US" sz="2000" b="1" dirty="0">
                            <a:solidFill>
                              <a:schemeClr val="bg1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Bank Loans</a:t>
                        </a:r>
                        <a:endParaRPr lang="en-US" sz="2000" dirty="0">
                          <a:solidFill>
                            <a:schemeClr val="bg1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endParaRPr>
                      </a:p>
                    </a:txBody>
                    <a:tcPr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006747">
                          <a:alpha val="90000"/>
                        </a:srgbClr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  <a:tr h="431222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ctr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5</a:t>
                        </a:r>
                      </a:p>
                    </a:txBody>
                    <a:tcPr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l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Credit Cards</a:t>
                        </a:r>
                      </a:p>
                    </a:txBody>
                    <a:tcPr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5"/>
                    </a:ext>
                  </a:extLst>
                </a:tr>
                <a:tr h="431222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ctr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6</a:t>
                        </a:r>
                      </a:p>
                    </a:txBody>
                    <a:tcPr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l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Department Store Cards</a:t>
                        </a:r>
                      </a:p>
                    </a:txBody>
                    <a:tcPr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6"/>
                    </a:ext>
                  </a:extLst>
                </a:tr>
                <a:tr h="431222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ctr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7</a:t>
                        </a:r>
                      </a:p>
                    </a:txBody>
                    <a:tcPr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kern="1200">
                            <a:solidFill>
                              <a:schemeClr val="dk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l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Physician Bills</a:t>
                        </a:r>
                      </a:p>
                    </a:txBody>
                    <a:tcPr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7"/>
                    </a:ext>
                  </a:extLst>
                </a:tr>
                <a:tr h="431222">
                  <a:tc>
                    <a:txBody>
                      <a:bodyPr/>
                      <a:lstStyle>
                        <a:lvl1pPr marL="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1pPr>
                        <a:lvl2pPr marL="457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2pPr>
                        <a:lvl3pPr marL="914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3pPr>
                        <a:lvl4pPr marL="1371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4pPr>
                        <a:lvl5pPr marL="18288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5pPr>
                        <a:lvl6pPr marL="22860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6pPr>
                        <a:lvl7pPr marL="27432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7pPr>
                        <a:lvl8pPr marL="32004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8pPr>
                        <a:lvl9pPr marL="3657600" algn="l" defTabSz="914400" rtl="0" eaLnBrk="1" latinLnBrk="0" hangingPunct="1">
                          <a:defRPr sz="1800" b="1" kern="1200">
                            <a:solidFill>
                              <a:schemeClr val="lt1"/>
                            </a:solidFill>
                            <a:latin typeface="Cera PRO"/>
                          </a:defRPr>
                        </a:lvl9pPr>
                      </a:lstStyle>
                      <a:p>
                        <a:pPr algn="ctr">
                          <a:lnSpc>
                            <a:spcPct val="150000"/>
                          </a:lnSpc>
                          <a:tabLst>
                            <a:tab pos="460375" algn="dec"/>
                          </a:tabLst>
                        </a:pPr>
                        <a:r>
                          <a:rPr lang="en-US" sz="2000" b="1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8</a:t>
                        </a:r>
                        <a:endParaRPr lang="en-US" sz="2000" b="0" dirty="0">
                          <a:solidFill>
                            <a:srgbClr val="4C4C4E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endParaRPr>
                      </a:p>
                    </a:txBody>
                    <a:tcPr anchor="ctr">
                      <a:lnL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C8C1B9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l">
                          <a:tabLst>
                            <a:tab pos="460375" algn="dec"/>
                          </a:tabLst>
                        </a:pPr>
                        <a:r>
                          <a:rPr lang="en-US" sz="2000" b="0" dirty="0">
                            <a:solidFill>
                              <a:srgbClr val="4C4C4E"/>
                            </a:solidFill>
                            <a:latin typeface="Poppins" panose="02000000000000000000" pitchFamily="2" charset="0"/>
                            <a:cs typeface="Poppins" panose="02000000000000000000" pitchFamily="2" charset="0"/>
                          </a:rPr>
                          <a:t>Hospital Bills</a:t>
                        </a:r>
                        <a:endParaRPr lang="en-US" sz="2000" dirty="0">
                          <a:solidFill>
                            <a:srgbClr val="4C4C4C"/>
                          </a:solidFill>
                          <a:latin typeface="Poppins" panose="02000000000000000000" pitchFamily="2" charset="0"/>
                          <a:cs typeface="Poppins" panose="02000000000000000000" pitchFamily="2" charset="0"/>
                        </a:endParaRPr>
                      </a:p>
                    </a:txBody>
                    <a:tcPr anchor="ctr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C8C1B9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8"/>
                    </a:ext>
                  </a:extLst>
                </a:tr>
              </a:tbl>
            </a:graphicData>
          </a:graphic>
        </p:graphicFrame>
        <p:sp>
          <p:nvSpPr>
            <p:cNvPr id="11" name="Arrow: Circular 10">
              <a:extLst>
                <a:ext uri="{FF2B5EF4-FFF2-40B4-BE49-F238E27FC236}">
                  <a16:creationId xmlns:a16="http://schemas.microsoft.com/office/drawing/2014/main" id="{6008A48F-EA2D-43DC-B431-84B7AA6EAACE}"/>
                </a:ext>
              </a:extLst>
            </p:cNvPr>
            <p:cNvSpPr/>
            <p:nvPr/>
          </p:nvSpPr>
          <p:spPr>
            <a:xfrm rot="16200000">
              <a:off x="1320572" y="3033143"/>
              <a:ext cx="2540456" cy="2609898"/>
            </a:xfrm>
            <a:prstGeom prst="circularArrow">
              <a:avLst>
                <a:gd name="adj1" fmla="val 8160"/>
                <a:gd name="adj2" fmla="val 1101095"/>
                <a:gd name="adj3" fmla="val 20457683"/>
                <a:gd name="adj4" fmla="val 11063844"/>
                <a:gd name="adj5" fmla="val 12500"/>
              </a:avLst>
            </a:prstGeom>
            <a:gradFill flip="none" rotWithShape="1">
              <a:gsLst>
                <a:gs pos="0">
                  <a:srgbClr val="006747"/>
                </a:gs>
                <a:gs pos="74000">
                  <a:srgbClr val="C8C1B9"/>
                </a:gs>
                <a:gs pos="83000">
                  <a:srgbClr val="C8C1B9"/>
                </a:gs>
                <a:gs pos="100000">
                  <a:srgbClr val="C8C1B9"/>
                </a:gs>
              </a:gsLst>
              <a:path path="circle">
                <a:fillToRect l="100000" t="100000"/>
              </a:path>
              <a:tileRect r="-100000" b="-100000"/>
            </a:gradFill>
            <a:ln w="2857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425BE0B-910F-4493-B20C-348D44A95E3D}"/>
              </a:ext>
            </a:extLst>
          </p:cNvPr>
          <p:cNvSpPr txBox="1">
            <a:spLocks/>
          </p:cNvSpPr>
          <p:nvPr/>
        </p:nvSpPr>
        <p:spPr>
          <a:xfrm>
            <a:off x="364192" y="6082679"/>
            <a:ext cx="11463616" cy="29151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50" dirty="0"/>
              <a:t>Source:  DeKaye, Allan P. The Patient Accounts Management Handbook: Aspen Publication.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47B4E0-B871-4680-9A50-9CBB6F5969FE}"/>
              </a:ext>
            </a:extLst>
          </p:cNvPr>
          <p:cNvSpPr/>
          <p:nvPr/>
        </p:nvSpPr>
        <p:spPr>
          <a:xfrm>
            <a:off x="8722162" y="6175328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18591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DC9DB-9CD7-419F-A744-83A800CAB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ng Recourse and Non-Recour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F9F03B-26EE-415C-BF90-562B766113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27" y="1655999"/>
            <a:ext cx="10600145" cy="35460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DF6ED8B-75B4-4BD1-9DF1-2E1B05CD631B}"/>
              </a:ext>
            </a:extLst>
          </p:cNvPr>
          <p:cNvSpPr/>
          <p:nvPr/>
        </p:nvSpPr>
        <p:spPr>
          <a:xfrm>
            <a:off x="8613913" y="6135822"/>
            <a:ext cx="3366051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1057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96DC40B-1034-2442-AA3A-9CBC2C5CEAD5}"/>
              </a:ext>
            </a:extLst>
          </p:cNvPr>
          <p:cNvSpPr/>
          <p:nvPr/>
        </p:nvSpPr>
        <p:spPr>
          <a:xfrm>
            <a:off x="8043725" y="2216731"/>
            <a:ext cx="3500580" cy="336969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TextBox 15">
            <a:extLst>
              <a:ext uri="{FF2B5EF4-FFF2-40B4-BE49-F238E27FC236}">
                <a16:creationId xmlns:a16="http://schemas.microsoft.com/office/drawing/2014/main" id="{EB5EB23F-2CAE-4E7F-A21C-977E873CC31B}"/>
              </a:ext>
            </a:extLst>
          </p:cNvPr>
          <p:cNvSpPr txBox="1"/>
          <p:nvPr/>
        </p:nvSpPr>
        <p:spPr>
          <a:xfrm>
            <a:off x="0" y="273501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Montserrat Semi" charset="0"/>
                <a:ea typeface="Montserrat Semi" charset="0"/>
                <a:cs typeface="Montserrat Semi" charset="0"/>
              </a:rPr>
              <a:t>     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F11AA2-DEA2-3F48-84E5-F0FCE813EE79}"/>
              </a:ext>
            </a:extLst>
          </p:cNvPr>
          <p:cNvSpPr txBox="1"/>
          <p:nvPr/>
        </p:nvSpPr>
        <p:spPr>
          <a:xfrm>
            <a:off x="8045215" y="3979533"/>
            <a:ext cx="3499090" cy="896399"/>
          </a:xfrm>
          <a:prstGeom prst="rect">
            <a:avLst/>
          </a:prstGeom>
          <a:noFill/>
          <a:ln>
            <a:noFill/>
          </a:ln>
        </p:spPr>
        <p:txBody>
          <a:bodyPr wrap="square" lIns="34290" tIns="17145" rIns="34290" bIns="17145" rtlCol="0">
            <a:spAutoFit/>
          </a:bodyPr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300" normalizeH="0" baseline="0" noProof="0" dirty="0">
                <a:ln>
                  <a:noFill/>
                </a:ln>
                <a:solidFill>
                  <a:srgbClr val="0A6449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1,393,125</a:t>
            </a:r>
            <a:r>
              <a:rPr kumimoji="0" lang="en-US" sz="11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 </a:t>
            </a:r>
            <a:br>
              <a:rPr kumimoji="0" 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</a:br>
            <a:r>
              <a:rPr kumimoji="0" 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FUND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10BA15-A862-B445-BD12-F264A31C3380}"/>
              </a:ext>
            </a:extLst>
          </p:cNvPr>
          <p:cNvSpPr txBox="1"/>
          <p:nvPr/>
        </p:nvSpPr>
        <p:spPr>
          <a:xfrm>
            <a:off x="1349" y="1312938"/>
            <a:ext cx="12190651" cy="403957"/>
          </a:xfrm>
          <a:prstGeom prst="rect">
            <a:avLst/>
          </a:prstGeom>
          <a:noFill/>
          <a:ln>
            <a:noFill/>
          </a:ln>
        </p:spPr>
        <p:txBody>
          <a:bodyPr wrap="square" lIns="34290" tIns="17145" rIns="34290" bIns="17145" rtlCol="0">
            <a:spAutoFit/>
          </a:bodyPr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SINCE FEBRUARY 2021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A9E9C25-313B-F446-8F1B-9188D3BF4509}"/>
              </a:ext>
            </a:extLst>
          </p:cNvPr>
          <p:cNvSpPr/>
          <p:nvPr/>
        </p:nvSpPr>
        <p:spPr>
          <a:xfrm>
            <a:off x="4328970" y="2216731"/>
            <a:ext cx="3500580" cy="336969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124E1A-B60A-9F4C-884C-F261886A7421}"/>
              </a:ext>
            </a:extLst>
          </p:cNvPr>
          <p:cNvSpPr txBox="1"/>
          <p:nvPr/>
        </p:nvSpPr>
        <p:spPr>
          <a:xfrm>
            <a:off x="4330460" y="3979533"/>
            <a:ext cx="3499090" cy="896399"/>
          </a:xfrm>
          <a:prstGeom prst="rect">
            <a:avLst/>
          </a:prstGeom>
          <a:noFill/>
          <a:ln>
            <a:noFill/>
          </a:ln>
        </p:spPr>
        <p:txBody>
          <a:bodyPr wrap="square" lIns="34290" tIns="17145" rIns="34290" bIns="17145" rtlCol="0">
            <a:spAutoFit/>
          </a:bodyPr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300" normalizeH="0" baseline="0" noProof="0" dirty="0">
                <a:ln>
                  <a:noFill/>
                </a:ln>
                <a:solidFill>
                  <a:srgbClr val="0A6449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1,603</a:t>
            </a:r>
            <a:r>
              <a:rPr kumimoji="0" 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 </a:t>
            </a:r>
            <a:br>
              <a:rPr kumimoji="0" 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</a:br>
            <a:r>
              <a:rPr kumimoji="0" 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TRANSACTION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CD55B3B-79C6-A540-8A18-0610C0A96A31}"/>
              </a:ext>
            </a:extLst>
          </p:cNvPr>
          <p:cNvSpPr/>
          <p:nvPr/>
        </p:nvSpPr>
        <p:spPr>
          <a:xfrm>
            <a:off x="614223" y="2216731"/>
            <a:ext cx="3500580" cy="3369690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F4CE79B-9B56-5D46-8BD3-841A9BD6195D}"/>
              </a:ext>
            </a:extLst>
          </p:cNvPr>
          <p:cNvSpPr txBox="1"/>
          <p:nvPr/>
        </p:nvSpPr>
        <p:spPr>
          <a:xfrm>
            <a:off x="615713" y="3979533"/>
            <a:ext cx="3499090" cy="896399"/>
          </a:xfrm>
          <a:prstGeom prst="rect">
            <a:avLst/>
          </a:prstGeom>
          <a:noFill/>
          <a:ln>
            <a:noFill/>
          </a:ln>
        </p:spPr>
        <p:txBody>
          <a:bodyPr wrap="square" lIns="34290" tIns="17145" rIns="34290" bIns="17145" rtlCol="0">
            <a:spAutoFit/>
          </a:bodyPr>
          <a:lstStyle/>
          <a:p>
            <a:pPr marL="0" marR="0" lvl="0" indent="0" algn="ctr" defTabSz="45621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300" normalizeH="0" baseline="0" noProof="0" dirty="0">
                <a:ln>
                  <a:noFill/>
                </a:ln>
                <a:solidFill>
                  <a:srgbClr val="0A6449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302</a:t>
            </a:r>
            <a:r>
              <a:rPr kumimoji="0" 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 </a:t>
            </a:r>
            <a:br>
              <a:rPr kumimoji="0" 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</a:br>
            <a:r>
              <a:rPr kumimoji="0" lang="en-US" sz="1600" b="0" i="0" u="none" strike="noStrike" kern="1200" cap="none" spc="30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ENROLLED</a:t>
            </a:r>
          </a:p>
        </p:txBody>
      </p:sp>
      <p:sp>
        <p:nvSpPr>
          <p:cNvPr id="32" name="Shape 2793">
            <a:extLst>
              <a:ext uri="{FF2B5EF4-FFF2-40B4-BE49-F238E27FC236}">
                <a16:creationId xmlns:a16="http://schemas.microsoft.com/office/drawing/2014/main" id="{DF61DCB4-5916-A04B-8D91-7C103A25858B}"/>
              </a:ext>
            </a:extLst>
          </p:cNvPr>
          <p:cNvSpPr>
            <a:spLocks noChangeAspect="1"/>
          </p:cNvSpPr>
          <p:nvPr/>
        </p:nvSpPr>
        <p:spPr>
          <a:xfrm>
            <a:off x="9511170" y="3021984"/>
            <a:ext cx="565688" cy="5655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686" y="14720"/>
                </a:moveTo>
                <a:cubicBezTo>
                  <a:pt x="9513" y="14863"/>
                  <a:pt x="9355" y="14945"/>
                  <a:pt x="9084" y="14965"/>
                </a:cubicBezTo>
                <a:lnTo>
                  <a:pt x="9084" y="13151"/>
                </a:lnTo>
                <a:cubicBezTo>
                  <a:pt x="9199" y="13182"/>
                  <a:pt x="9248" y="13219"/>
                  <a:pt x="9358" y="13260"/>
                </a:cubicBezTo>
                <a:cubicBezTo>
                  <a:pt x="9469" y="13302"/>
                  <a:pt x="9568" y="13357"/>
                  <a:pt x="9656" y="13424"/>
                </a:cubicBezTo>
                <a:cubicBezTo>
                  <a:pt x="9744" y="13491"/>
                  <a:pt x="9814" y="13575"/>
                  <a:pt x="9867" y="13673"/>
                </a:cubicBezTo>
                <a:cubicBezTo>
                  <a:pt x="9920" y="13772"/>
                  <a:pt x="9946" y="13894"/>
                  <a:pt x="9946" y="14039"/>
                </a:cubicBezTo>
                <a:cubicBezTo>
                  <a:pt x="9946" y="14350"/>
                  <a:pt x="9859" y="14577"/>
                  <a:pt x="9686" y="14720"/>
                </a:cubicBezTo>
                <a:moveTo>
                  <a:pt x="8631" y="12100"/>
                </a:moveTo>
                <a:cubicBezTo>
                  <a:pt x="8526" y="12074"/>
                  <a:pt x="8486" y="12041"/>
                  <a:pt x="8383" y="12003"/>
                </a:cubicBezTo>
                <a:cubicBezTo>
                  <a:pt x="8280" y="11964"/>
                  <a:pt x="8189" y="11913"/>
                  <a:pt x="8112" y="11851"/>
                </a:cubicBezTo>
                <a:cubicBezTo>
                  <a:pt x="8034" y="11789"/>
                  <a:pt x="7969" y="11714"/>
                  <a:pt x="7919" y="11625"/>
                </a:cubicBezTo>
                <a:cubicBezTo>
                  <a:pt x="7869" y="11537"/>
                  <a:pt x="7844" y="11431"/>
                  <a:pt x="7844" y="11306"/>
                </a:cubicBezTo>
                <a:cubicBezTo>
                  <a:pt x="7844" y="11031"/>
                  <a:pt x="7918" y="10835"/>
                  <a:pt x="8067" y="10718"/>
                </a:cubicBezTo>
                <a:cubicBezTo>
                  <a:pt x="8214" y="10601"/>
                  <a:pt x="8360" y="10543"/>
                  <a:pt x="8631" y="10543"/>
                </a:cubicBezTo>
                <a:cubicBezTo>
                  <a:pt x="8631" y="10543"/>
                  <a:pt x="8631" y="12100"/>
                  <a:pt x="8631" y="12100"/>
                </a:cubicBezTo>
                <a:close/>
                <a:moveTo>
                  <a:pt x="10255" y="12723"/>
                </a:moveTo>
                <a:cubicBezTo>
                  <a:pt x="10089" y="12593"/>
                  <a:pt x="9898" y="12487"/>
                  <a:pt x="9683" y="12404"/>
                </a:cubicBezTo>
                <a:cubicBezTo>
                  <a:pt x="9466" y="12321"/>
                  <a:pt x="9310" y="12248"/>
                  <a:pt x="9084" y="12186"/>
                </a:cubicBezTo>
                <a:lnTo>
                  <a:pt x="9084" y="10543"/>
                </a:lnTo>
                <a:cubicBezTo>
                  <a:pt x="9355" y="10543"/>
                  <a:pt x="9488" y="10613"/>
                  <a:pt x="9611" y="10753"/>
                </a:cubicBezTo>
                <a:cubicBezTo>
                  <a:pt x="9734" y="10893"/>
                  <a:pt x="9800" y="11096"/>
                  <a:pt x="9810" y="11361"/>
                </a:cubicBezTo>
                <a:lnTo>
                  <a:pt x="10669" y="11361"/>
                </a:lnTo>
                <a:cubicBezTo>
                  <a:pt x="10669" y="11106"/>
                  <a:pt x="10625" y="10883"/>
                  <a:pt x="10537" y="10690"/>
                </a:cubicBezTo>
                <a:cubicBezTo>
                  <a:pt x="10450" y="10499"/>
                  <a:pt x="10331" y="10340"/>
                  <a:pt x="10183" y="10216"/>
                </a:cubicBezTo>
                <a:cubicBezTo>
                  <a:pt x="10035" y="10091"/>
                  <a:pt x="9860" y="9998"/>
                  <a:pt x="9659" y="9935"/>
                </a:cubicBezTo>
                <a:cubicBezTo>
                  <a:pt x="9459" y="9873"/>
                  <a:pt x="9310" y="9842"/>
                  <a:pt x="9084" y="9842"/>
                </a:cubicBezTo>
                <a:lnTo>
                  <a:pt x="9084" y="9331"/>
                </a:lnTo>
                <a:lnTo>
                  <a:pt x="8631" y="9331"/>
                </a:lnTo>
                <a:lnTo>
                  <a:pt x="8631" y="9842"/>
                </a:lnTo>
                <a:cubicBezTo>
                  <a:pt x="8405" y="9842"/>
                  <a:pt x="8253" y="9876"/>
                  <a:pt x="8048" y="9943"/>
                </a:cubicBezTo>
                <a:cubicBezTo>
                  <a:pt x="7842" y="10011"/>
                  <a:pt x="7660" y="10108"/>
                  <a:pt x="7501" y="10235"/>
                </a:cubicBezTo>
                <a:cubicBezTo>
                  <a:pt x="7343" y="10363"/>
                  <a:pt x="7218" y="10521"/>
                  <a:pt x="7125" y="10710"/>
                </a:cubicBezTo>
                <a:cubicBezTo>
                  <a:pt x="7032" y="10899"/>
                  <a:pt x="6985" y="11119"/>
                  <a:pt x="6985" y="11368"/>
                </a:cubicBezTo>
                <a:cubicBezTo>
                  <a:pt x="6985" y="11654"/>
                  <a:pt x="7035" y="11892"/>
                  <a:pt x="7136" y="12085"/>
                </a:cubicBezTo>
                <a:cubicBezTo>
                  <a:pt x="7237" y="12277"/>
                  <a:pt x="7368" y="12436"/>
                  <a:pt x="7531" y="12563"/>
                </a:cubicBezTo>
                <a:cubicBezTo>
                  <a:pt x="7694" y="12691"/>
                  <a:pt x="7878" y="12794"/>
                  <a:pt x="8081" y="12875"/>
                </a:cubicBezTo>
                <a:cubicBezTo>
                  <a:pt x="8285" y="12956"/>
                  <a:pt x="8426" y="13024"/>
                  <a:pt x="8631" y="13081"/>
                </a:cubicBezTo>
                <a:lnTo>
                  <a:pt x="8631" y="14965"/>
                </a:lnTo>
                <a:cubicBezTo>
                  <a:pt x="8285" y="14955"/>
                  <a:pt x="8100" y="14852"/>
                  <a:pt x="7950" y="14654"/>
                </a:cubicBezTo>
                <a:cubicBezTo>
                  <a:pt x="7799" y="14457"/>
                  <a:pt x="7726" y="14187"/>
                  <a:pt x="7731" y="13844"/>
                </a:cubicBezTo>
                <a:lnTo>
                  <a:pt x="6872" y="13844"/>
                </a:lnTo>
                <a:cubicBezTo>
                  <a:pt x="6867" y="14135"/>
                  <a:pt x="6908" y="14392"/>
                  <a:pt x="6996" y="14615"/>
                </a:cubicBezTo>
                <a:cubicBezTo>
                  <a:pt x="7085" y="14839"/>
                  <a:pt x="7209" y="15027"/>
                  <a:pt x="7369" y="15180"/>
                </a:cubicBezTo>
                <a:cubicBezTo>
                  <a:pt x="7530" y="15333"/>
                  <a:pt x="7723" y="15451"/>
                  <a:pt x="7950" y="15534"/>
                </a:cubicBezTo>
                <a:cubicBezTo>
                  <a:pt x="8176" y="15617"/>
                  <a:pt x="8360" y="15661"/>
                  <a:pt x="8631" y="15667"/>
                </a:cubicBezTo>
                <a:lnTo>
                  <a:pt x="8631" y="16199"/>
                </a:lnTo>
                <a:lnTo>
                  <a:pt x="9084" y="16199"/>
                </a:lnTo>
                <a:lnTo>
                  <a:pt x="9084" y="15667"/>
                </a:lnTo>
                <a:cubicBezTo>
                  <a:pt x="9335" y="15656"/>
                  <a:pt x="9504" y="15613"/>
                  <a:pt x="9720" y="15538"/>
                </a:cubicBezTo>
                <a:cubicBezTo>
                  <a:pt x="9936" y="15463"/>
                  <a:pt x="10124" y="15354"/>
                  <a:pt x="10285" y="15211"/>
                </a:cubicBezTo>
                <a:cubicBezTo>
                  <a:pt x="10445" y="15068"/>
                  <a:pt x="10573" y="14889"/>
                  <a:pt x="10666" y="14673"/>
                </a:cubicBezTo>
                <a:cubicBezTo>
                  <a:pt x="10758" y="14459"/>
                  <a:pt x="10805" y="14205"/>
                  <a:pt x="10805" y="13914"/>
                </a:cubicBezTo>
                <a:cubicBezTo>
                  <a:pt x="10805" y="13634"/>
                  <a:pt x="10755" y="13398"/>
                  <a:pt x="10654" y="13206"/>
                </a:cubicBezTo>
                <a:cubicBezTo>
                  <a:pt x="10554" y="13014"/>
                  <a:pt x="10421" y="12853"/>
                  <a:pt x="10255" y="12723"/>
                </a:cubicBezTo>
                <a:moveTo>
                  <a:pt x="12764" y="0"/>
                </a:moveTo>
                <a:cubicBezTo>
                  <a:pt x="9919" y="0"/>
                  <a:pt x="7396" y="1350"/>
                  <a:pt x="5779" y="3437"/>
                </a:cubicBezTo>
                <a:cubicBezTo>
                  <a:pt x="6324" y="3259"/>
                  <a:pt x="6890" y="3132"/>
                  <a:pt x="7472" y="3051"/>
                </a:cubicBezTo>
                <a:cubicBezTo>
                  <a:pt x="8868" y="1774"/>
                  <a:pt x="10722" y="987"/>
                  <a:pt x="12764" y="987"/>
                </a:cubicBezTo>
                <a:cubicBezTo>
                  <a:pt x="17099" y="987"/>
                  <a:pt x="20613" y="4502"/>
                  <a:pt x="20613" y="8836"/>
                </a:cubicBezTo>
                <a:cubicBezTo>
                  <a:pt x="20613" y="10878"/>
                  <a:pt x="19827" y="12732"/>
                  <a:pt x="18549" y="14128"/>
                </a:cubicBezTo>
                <a:cubicBezTo>
                  <a:pt x="18468" y="14710"/>
                  <a:pt x="18341" y="15276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8836" y="20613"/>
                </a:moveTo>
                <a:cubicBezTo>
                  <a:pt x="4501" y="20613"/>
                  <a:pt x="987" y="17098"/>
                  <a:pt x="987" y="12764"/>
                </a:cubicBezTo>
                <a:cubicBezTo>
                  <a:pt x="987" y="8429"/>
                  <a:pt x="4501" y="4915"/>
                  <a:pt x="8836" y="4915"/>
                </a:cubicBezTo>
                <a:cubicBezTo>
                  <a:pt x="13172" y="4915"/>
                  <a:pt x="16685" y="8429"/>
                  <a:pt x="16685" y="12764"/>
                </a:cubicBezTo>
                <a:cubicBezTo>
                  <a:pt x="16685" y="17098"/>
                  <a:pt x="13172" y="20613"/>
                  <a:pt x="8836" y="20613"/>
                </a:cubicBezTo>
                <a:moveTo>
                  <a:pt x="8836" y="3927"/>
                </a:moveTo>
                <a:cubicBezTo>
                  <a:pt x="3956" y="3927"/>
                  <a:pt x="0" y="7884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6" y="21600"/>
                  <a:pt x="17673" y="17644"/>
                  <a:pt x="17673" y="12764"/>
                </a:cubicBezTo>
                <a:cubicBezTo>
                  <a:pt x="17673" y="7884"/>
                  <a:pt x="13716" y="3927"/>
                  <a:pt x="8836" y="3927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14F99F72-15A7-E34F-AC06-731AE475AE91}"/>
              </a:ext>
            </a:extLst>
          </p:cNvPr>
          <p:cNvGrpSpPr>
            <a:grpSpLocks noChangeAspect="1"/>
          </p:cNvGrpSpPr>
          <p:nvPr/>
        </p:nvGrpSpPr>
        <p:grpSpPr>
          <a:xfrm>
            <a:off x="5811753" y="3021984"/>
            <a:ext cx="568495" cy="565542"/>
            <a:chOff x="-2771775" y="66675"/>
            <a:chExt cx="827087" cy="827088"/>
          </a:xfrm>
          <a:solidFill>
            <a:srgbClr val="000000"/>
          </a:solidFill>
        </p:grpSpPr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8D3985EA-8A16-F742-9AC7-F0E9860332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771775" y="66675"/>
              <a:ext cx="827087" cy="827088"/>
            </a:xfrm>
            <a:custGeom>
              <a:avLst/>
              <a:gdLst>
                <a:gd name="T0" fmla="*/ 188 w 220"/>
                <a:gd name="T1" fmla="*/ 83 h 220"/>
                <a:gd name="T2" fmla="*/ 196 w 220"/>
                <a:gd name="T3" fmla="*/ 56 h 220"/>
                <a:gd name="T4" fmla="*/ 181 w 220"/>
                <a:gd name="T5" fmla="*/ 26 h 220"/>
                <a:gd name="T6" fmla="*/ 164 w 220"/>
                <a:gd name="T7" fmla="*/ 24 h 220"/>
                <a:gd name="T8" fmla="*/ 137 w 220"/>
                <a:gd name="T9" fmla="*/ 32 h 220"/>
                <a:gd name="T10" fmla="*/ 119 w 220"/>
                <a:gd name="T11" fmla="*/ 0 h 220"/>
                <a:gd name="T12" fmla="*/ 87 w 220"/>
                <a:gd name="T13" fmla="*/ 11 h 220"/>
                <a:gd name="T14" fmla="*/ 74 w 220"/>
                <a:gd name="T15" fmla="*/ 36 h 220"/>
                <a:gd name="T16" fmla="*/ 49 w 220"/>
                <a:gd name="T17" fmla="*/ 22 h 220"/>
                <a:gd name="T18" fmla="*/ 26 w 220"/>
                <a:gd name="T19" fmla="*/ 39 h 220"/>
                <a:gd name="T20" fmla="*/ 36 w 220"/>
                <a:gd name="T21" fmla="*/ 74 h 220"/>
                <a:gd name="T22" fmla="*/ 11 w 220"/>
                <a:gd name="T23" fmla="*/ 87 h 220"/>
                <a:gd name="T24" fmla="*/ 0 w 220"/>
                <a:gd name="T25" fmla="*/ 119 h 220"/>
                <a:gd name="T26" fmla="*/ 32 w 220"/>
                <a:gd name="T27" fmla="*/ 137 h 220"/>
                <a:gd name="T28" fmla="*/ 24 w 220"/>
                <a:gd name="T29" fmla="*/ 164 h 220"/>
                <a:gd name="T30" fmla="*/ 39 w 220"/>
                <a:gd name="T31" fmla="*/ 194 h 220"/>
                <a:gd name="T32" fmla="*/ 56 w 220"/>
                <a:gd name="T33" fmla="*/ 196 h 220"/>
                <a:gd name="T34" fmla="*/ 83 w 220"/>
                <a:gd name="T35" fmla="*/ 188 h 220"/>
                <a:gd name="T36" fmla="*/ 101 w 220"/>
                <a:gd name="T37" fmla="*/ 220 h 220"/>
                <a:gd name="T38" fmla="*/ 133 w 220"/>
                <a:gd name="T39" fmla="*/ 209 h 220"/>
                <a:gd name="T40" fmla="*/ 146 w 220"/>
                <a:gd name="T41" fmla="*/ 184 h 220"/>
                <a:gd name="T42" fmla="*/ 171 w 220"/>
                <a:gd name="T43" fmla="*/ 198 h 220"/>
                <a:gd name="T44" fmla="*/ 194 w 220"/>
                <a:gd name="T45" fmla="*/ 181 h 220"/>
                <a:gd name="T46" fmla="*/ 184 w 220"/>
                <a:gd name="T47" fmla="*/ 146 h 220"/>
                <a:gd name="T48" fmla="*/ 209 w 220"/>
                <a:gd name="T49" fmla="*/ 133 h 220"/>
                <a:gd name="T50" fmla="*/ 220 w 220"/>
                <a:gd name="T51" fmla="*/ 101 h 220"/>
                <a:gd name="T52" fmla="*/ 185 w 220"/>
                <a:gd name="T53" fmla="*/ 124 h 220"/>
                <a:gd name="T54" fmla="*/ 172 w 220"/>
                <a:gd name="T55" fmla="*/ 140 h 220"/>
                <a:gd name="T56" fmla="*/ 185 w 220"/>
                <a:gd name="T57" fmla="*/ 171 h 220"/>
                <a:gd name="T58" fmla="*/ 154 w 220"/>
                <a:gd name="T59" fmla="*/ 173 h 220"/>
                <a:gd name="T60" fmla="*/ 140 w 220"/>
                <a:gd name="T61" fmla="*/ 172 h 220"/>
                <a:gd name="T62" fmla="*/ 124 w 220"/>
                <a:gd name="T63" fmla="*/ 185 h 220"/>
                <a:gd name="T64" fmla="*/ 101 w 220"/>
                <a:gd name="T65" fmla="*/ 206 h 220"/>
                <a:gd name="T66" fmla="*/ 87 w 220"/>
                <a:gd name="T67" fmla="*/ 175 h 220"/>
                <a:gd name="T68" fmla="*/ 74 w 220"/>
                <a:gd name="T69" fmla="*/ 170 h 220"/>
                <a:gd name="T70" fmla="*/ 49 w 220"/>
                <a:gd name="T71" fmla="*/ 185 h 220"/>
                <a:gd name="T72" fmla="*/ 47 w 220"/>
                <a:gd name="T73" fmla="*/ 154 h 220"/>
                <a:gd name="T74" fmla="*/ 45 w 220"/>
                <a:gd name="T75" fmla="*/ 133 h 220"/>
                <a:gd name="T76" fmla="*/ 14 w 220"/>
                <a:gd name="T77" fmla="*/ 119 h 220"/>
                <a:gd name="T78" fmla="*/ 35 w 220"/>
                <a:gd name="T79" fmla="*/ 96 h 220"/>
                <a:gd name="T80" fmla="*/ 48 w 220"/>
                <a:gd name="T81" fmla="*/ 80 h 220"/>
                <a:gd name="T82" fmla="*/ 35 w 220"/>
                <a:gd name="T83" fmla="*/ 49 h 220"/>
                <a:gd name="T84" fmla="*/ 66 w 220"/>
                <a:gd name="T85" fmla="*/ 47 h 220"/>
                <a:gd name="T86" fmla="*/ 80 w 220"/>
                <a:gd name="T87" fmla="*/ 48 h 220"/>
                <a:gd name="T88" fmla="*/ 96 w 220"/>
                <a:gd name="T89" fmla="*/ 35 h 220"/>
                <a:gd name="T90" fmla="*/ 119 w 220"/>
                <a:gd name="T91" fmla="*/ 14 h 220"/>
                <a:gd name="T92" fmla="*/ 133 w 220"/>
                <a:gd name="T93" fmla="*/ 45 h 220"/>
                <a:gd name="T94" fmla="*/ 146 w 220"/>
                <a:gd name="T95" fmla="*/ 50 h 220"/>
                <a:gd name="T96" fmla="*/ 171 w 220"/>
                <a:gd name="T97" fmla="*/ 35 h 220"/>
                <a:gd name="T98" fmla="*/ 173 w 220"/>
                <a:gd name="T99" fmla="*/ 66 h 220"/>
                <a:gd name="T100" fmla="*/ 175 w 220"/>
                <a:gd name="T101" fmla="*/ 87 h 220"/>
                <a:gd name="T102" fmla="*/ 206 w 220"/>
                <a:gd name="T103" fmla="*/ 101 h 220"/>
                <a:gd name="T104" fmla="*/ 185 w 220"/>
                <a:gd name="T105" fmla="*/ 124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0" h="220">
                  <a:moveTo>
                    <a:pt x="209" y="87"/>
                  </a:moveTo>
                  <a:cubicBezTo>
                    <a:pt x="188" y="83"/>
                    <a:pt x="188" y="83"/>
                    <a:pt x="188" y="83"/>
                  </a:cubicBezTo>
                  <a:cubicBezTo>
                    <a:pt x="187" y="80"/>
                    <a:pt x="186" y="77"/>
                    <a:pt x="184" y="74"/>
                  </a:cubicBezTo>
                  <a:cubicBezTo>
                    <a:pt x="196" y="56"/>
                    <a:pt x="196" y="56"/>
                    <a:pt x="196" y="56"/>
                  </a:cubicBezTo>
                  <a:cubicBezTo>
                    <a:pt x="200" y="51"/>
                    <a:pt x="199" y="43"/>
                    <a:pt x="194" y="39"/>
                  </a:cubicBezTo>
                  <a:cubicBezTo>
                    <a:pt x="181" y="26"/>
                    <a:pt x="181" y="26"/>
                    <a:pt x="181" y="26"/>
                  </a:cubicBezTo>
                  <a:cubicBezTo>
                    <a:pt x="179" y="23"/>
                    <a:pt x="175" y="22"/>
                    <a:pt x="171" y="22"/>
                  </a:cubicBezTo>
                  <a:cubicBezTo>
                    <a:pt x="169" y="22"/>
                    <a:pt x="166" y="22"/>
                    <a:pt x="164" y="24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3" y="34"/>
                    <a:pt x="140" y="33"/>
                    <a:pt x="137" y="32"/>
                  </a:cubicBezTo>
                  <a:cubicBezTo>
                    <a:pt x="133" y="11"/>
                    <a:pt x="133" y="11"/>
                    <a:pt x="133" y="11"/>
                  </a:cubicBezTo>
                  <a:cubicBezTo>
                    <a:pt x="132" y="5"/>
                    <a:pt x="126" y="0"/>
                    <a:pt x="11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4" y="0"/>
                    <a:pt x="88" y="5"/>
                    <a:pt x="87" y="11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0" y="33"/>
                    <a:pt x="77" y="34"/>
                    <a:pt x="74" y="36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4" y="22"/>
                    <a:pt x="51" y="22"/>
                    <a:pt x="49" y="22"/>
                  </a:cubicBezTo>
                  <a:cubicBezTo>
                    <a:pt x="45" y="22"/>
                    <a:pt x="41" y="23"/>
                    <a:pt x="39" y="26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1" y="43"/>
                    <a:pt x="20" y="51"/>
                    <a:pt x="24" y="56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4" y="77"/>
                    <a:pt x="33" y="80"/>
                    <a:pt x="32" y="83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88"/>
                    <a:pt x="0" y="94"/>
                    <a:pt x="0" y="101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6"/>
                    <a:pt x="5" y="132"/>
                    <a:pt x="11" y="133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3" y="140"/>
                    <a:pt x="34" y="143"/>
                    <a:pt x="36" y="146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0" y="169"/>
                    <a:pt x="21" y="177"/>
                    <a:pt x="26" y="181"/>
                  </a:cubicBezTo>
                  <a:cubicBezTo>
                    <a:pt x="39" y="194"/>
                    <a:pt x="39" y="194"/>
                    <a:pt x="39" y="194"/>
                  </a:cubicBezTo>
                  <a:cubicBezTo>
                    <a:pt x="41" y="197"/>
                    <a:pt x="45" y="198"/>
                    <a:pt x="49" y="198"/>
                  </a:cubicBezTo>
                  <a:cubicBezTo>
                    <a:pt x="51" y="198"/>
                    <a:pt x="54" y="198"/>
                    <a:pt x="56" y="196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7" y="186"/>
                    <a:pt x="80" y="187"/>
                    <a:pt x="83" y="188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88" y="215"/>
                    <a:pt x="94" y="220"/>
                    <a:pt x="101" y="220"/>
                  </a:cubicBezTo>
                  <a:cubicBezTo>
                    <a:pt x="119" y="220"/>
                    <a:pt x="119" y="220"/>
                    <a:pt x="119" y="220"/>
                  </a:cubicBezTo>
                  <a:cubicBezTo>
                    <a:pt x="126" y="220"/>
                    <a:pt x="132" y="215"/>
                    <a:pt x="133" y="209"/>
                  </a:cubicBezTo>
                  <a:cubicBezTo>
                    <a:pt x="137" y="188"/>
                    <a:pt x="137" y="188"/>
                    <a:pt x="137" y="188"/>
                  </a:cubicBezTo>
                  <a:cubicBezTo>
                    <a:pt x="140" y="187"/>
                    <a:pt x="143" y="186"/>
                    <a:pt x="146" y="184"/>
                  </a:cubicBezTo>
                  <a:cubicBezTo>
                    <a:pt x="164" y="196"/>
                    <a:pt x="164" y="196"/>
                    <a:pt x="164" y="196"/>
                  </a:cubicBezTo>
                  <a:cubicBezTo>
                    <a:pt x="166" y="198"/>
                    <a:pt x="169" y="198"/>
                    <a:pt x="171" y="198"/>
                  </a:cubicBezTo>
                  <a:cubicBezTo>
                    <a:pt x="175" y="198"/>
                    <a:pt x="179" y="197"/>
                    <a:pt x="181" y="194"/>
                  </a:cubicBezTo>
                  <a:cubicBezTo>
                    <a:pt x="194" y="181"/>
                    <a:pt x="194" y="181"/>
                    <a:pt x="194" y="181"/>
                  </a:cubicBezTo>
                  <a:cubicBezTo>
                    <a:pt x="199" y="177"/>
                    <a:pt x="200" y="169"/>
                    <a:pt x="196" y="164"/>
                  </a:cubicBezTo>
                  <a:cubicBezTo>
                    <a:pt x="184" y="146"/>
                    <a:pt x="184" y="146"/>
                    <a:pt x="184" y="146"/>
                  </a:cubicBezTo>
                  <a:cubicBezTo>
                    <a:pt x="186" y="143"/>
                    <a:pt x="187" y="140"/>
                    <a:pt x="188" y="137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215" y="132"/>
                    <a:pt x="220" y="126"/>
                    <a:pt x="220" y="119"/>
                  </a:cubicBezTo>
                  <a:cubicBezTo>
                    <a:pt x="220" y="101"/>
                    <a:pt x="220" y="101"/>
                    <a:pt x="220" y="101"/>
                  </a:cubicBezTo>
                  <a:cubicBezTo>
                    <a:pt x="220" y="94"/>
                    <a:pt x="215" y="88"/>
                    <a:pt x="209" y="87"/>
                  </a:cubicBezTo>
                  <a:close/>
                  <a:moveTo>
                    <a:pt x="185" y="124"/>
                  </a:moveTo>
                  <a:cubicBezTo>
                    <a:pt x="180" y="125"/>
                    <a:pt x="176" y="128"/>
                    <a:pt x="175" y="133"/>
                  </a:cubicBezTo>
                  <a:cubicBezTo>
                    <a:pt x="174" y="135"/>
                    <a:pt x="173" y="138"/>
                    <a:pt x="172" y="140"/>
                  </a:cubicBezTo>
                  <a:cubicBezTo>
                    <a:pt x="170" y="144"/>
                    <a:pt x="170" y="149"/>
                    <a:pt x="173" y="154"/>
                  </a:cubicBezTo>
                  <a:cubicBezTo>
                    <a:pt x="185" y="171"/>
                    <a:pt x="185" y="171"/>
                    <a:pt x="185" y="171"/>
                  </a:cubicBezTo>
                  <a:cubicBezTo>
                    <a:pt x="171" y="185"/>
                    <a:pt x="171" y="185"/>
                    <a:pt x="171" y="185"/>
                  </a:cubicBezTo>
                  <a:cubicBezTo>
                    <a:pt x="154" y="173"/>
                    <a:pt x="154" y="173"/>
                    <a:pt x="154" y="173"/>
                  </a:cubicBezTo>
                  <a:cubicBezTo>
                    <a:pt x="151" y="171"/>
                    <a:pt x="149" y="170"/>
                    <a:pt x="146" y="170"/>
                  </a:cubicBezTo>
                  <a:cubicBezTo>
                    <a:pt x="144" y="170"/>
                    <a:pt x="142" y="171"/>
                    <a:pt x="140" y="172"/>
                  </a:cubicBezTo>
                  <a:cubicBezTo>
                    <a:pt x="138" y="173"/>
                    <a:pt x="135" y="174"/>
                    <a:pt x="133" y="175"/>
                  </a:cubicBezTo>
                  <a:cubicBezTo>
                    <a:pt x="128" y="176"/>
                    <a:pt x="125" y="180"/>
                    <a:pt x="124" y="185"/>
                  </a:cubicBezTo>
                  <a:cubicBezTo>
                    <a:pt x="119" y="206"/>
                    <a:pt x="119" y="206"/>
                    <a:pt x="119" y="206"/>
                  </a:cubicBezTo>
                  <a:cubicBezTo>
                    <a:pt x="101" y="206"/>
                    <a:pt x="101" y="206"/>
                    <a:pt x="101" y="206"/>
                  </a:cubicBezTo>
                  <a:cubicBezTo>
                    <a:pt x="96" y="185"/>
                    <a:pt x="96" y="185"/>
                    <a:pt x="96" y="185"/>
                  </a:cubicBezTo>
                  <a:cubicBezTo>
                    <a:pt x="95" y="180"/>
                    <a:pt x="92" y="176"/>
                    <a:pt x="87" y="175"/>
                  </a:cubicBezTo>
                  <a:cubicBezTo>
                    <a:pt x="85" y="174"/>
                    <a:pt x="82" y="173"/>
                    <a:pt x="80" y="172"/>
                  </a:cubicBezTo>
                  <a:cubicBezTo>
                    <a:pt x="78" y="171"/>
                    <a:pt x="76" y="170"/>
                    <a:pt x="74" y="170"/>
                  </a:cubicBezTo>
                  <a:cubicBezTo>
                    <a:pt x="71" y="170"/>
                    <a:pt x="69" y="171"/>
                    <a:pt x="66" y="173"/>
                  </a:cubicBezTo>
                  <a:cubicBezTo>
                    <a:pt x="49" y="185"/>
                    <a:pt x="49" y="185"/>
                    <a:pt x="49" y="185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47" y="154"/>
                    <a:pt x="47" y="154"/>
                    <a:pt x="47" y="154"/>
                  </a:cubicBezTo>
                  <a:cubicBezTo>
                    <a:pt x="50" y="149"/>
                    <a:pt x="50" y="144"/>
                    <a:pt x="48" y="140"/>
                  </a:cubicBezTo>
                  <a:cubicBezTo>
                    <a:pt x="47" y="138"/>
                    <a:pt x="46" y="135"/>
                    <a:pt x="45" y="133"/>
                  </a:cubicBezTo>
                  <a:cubicBezTo>
                    <a:pt x="44" y="128"/>
                    <a:pt x="40" y="125"/>
                    <a:pt x="35" y="124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01"/>
                    <a:pt x="14" y="101"/>
                    <a:pt x="14" y="101"/>
                  </a:cubicBezTo>
                  <a:cubicBezTo>
                    <a:pt x="35" y="96"/>
                    <a:pt x="35" y="96"/>
                    <a:pt x="35" y="96"/>
                  </a:cubicBezTo>
                  <a:cubicBezTo>
                    <a:pt x="40" y="95"/>
                    <a:pt x="44" y="92"/>
                    <a:pt x="45" y="87"/>
                  </a:cubicBezTo>
                  <a:cubicBezTo>
                    <a:pt x="46" y="85"/>
                    <a:pt x="47" y="82"/>
                    <a:pt x="48" y="80"/>
                  </a:cubicBezTo>
                  <a:cubicBezTo>
                    <a:pt x="50" y="76"/>
                    <a:pt x="50" y="71"/>
                    <a:pt x="47" y="66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9" y="49"/>
                    <a:pt x="71" y="50"/>
                    <a:pt x="74" y="50"/>
                  </a:cubicBezTo>
                  <a:cubicBezTo>
                    <a:pt x="76" y="50"/>
                    <a:pt x="78" y="49"/>
                    <a:pt x="80" y="48"/>
                  </a:cubicBezTo>
                  <a:cubicBezTo>
                    <a:pt x="82" y="47"/>
                    <a:pt x="85" y="46"/>
                    <a:pt x="87" y="45"/>
                  </a:cubicBezTo>
                  <a:cubicBezTo>
                    <a:pt x="92" y="44"/>
                    <a:pt x="95" y="40"/>
                    <a:pt x="96" y="35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19" y="14"/>
                    <a:pt x="119" y="14"/>
                    <a:pt x="119" y="14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5" y="40"/>
                    <a:pt x="128" y="44"/>
                    <a:pt x="133" y="45"/>
                  </a:cubicBezTo>
                  <a:cubicBezTo>
                    <a:pt x="135" y="46"/>
                    <a:pt x="138" y="47"/>
                    <a:pt x="140" y="48"/>
                  </a:cubicBezTo>
                  <a:cubicBezTo>
                    <a:pt x="142" y="49"/>
                    <a:pt x="144" y="50"/>
                    <a:pt x="146" y="50"/>
                  </a:cubicBezTo>
                  <a:cubicBezTo>
                    <a:pt x="149" y="50"/>
                    <a:pt x="151" y="49"/>
                    <a:pt x="154" y="47"/>
                  </a:cubicBezTo>
                  <a:cubicBezTo>
                    <a:pt x="171" y="35"/>
                    <a:pt x="171" y="35"/>
                    <a:pt x="171" y="35"/>
                  </a:cubicBezTo>
                  <a:cubicBezTo>
                    <a:pt x="185" y="49"/>
                    <a:pt x="185" y="49"/>
                    <a:pt x="185" y="49"/>
                  </a:cubicBezTo>
                  <a:cubicBezTo>
                    <a:pt x="173" y="66"/>
                    <a:pt x="173" y="66"/>
                    <a:pt x="173" y="66"/>
                  </a:cubicBezTo>
                  <a:cubicBezTo>
                    <a:pt x="170" y="71"/>
                    <a:pt x="170" y="76"/>
                    <a:pt x="172" y="80"/>
                  </a:cubicBezTo>
                  <a:cubicBezTo>
                    <a:pt x="173" y="82"/>
                    <a:pt x="174" y="85"/>
                    <a:pt x="175" y="87"/>
                  </a:cubicBezTo>
                  <a:cubicBezTo>
                    <a:pt x="176" y="92"/>
                    <a:pt x="180" y="95"/>
                    <a:pt x="185" y="96"/>
                  </a:cubicBezTo>
                  <a:cubicBezTo>
                    <a:pt x="206" y="101"/>
                    <a:pt x="206" y="101"/>
                    <a:pt x="206" y="101"/>
                  </a:cubicBezTo>
                  <a:cubicBezTo>
                    <a:pt x="206" y="119"/>
                    <a:pt x="206" y="119"/>
                    <a:pt x="206" y="119"/>
                  </a:cubicBezTo>
                  <a:lnTo>
                    <a:pt x="185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62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B3A1E0F4-5993-0746-94D3-6F98BFF88A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538413" y="300038"/>
              <a:ext cx="360362" cy="360363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48 w 96"/>
                <a:gd name="T11" fmla="*/ 90 h 96"/>
                <a:gd name="T12" fmla="*/ 6 w 96"/>
                <a:gd name="T13" fmla="*/ 48 h 96"/>
                <a:gd name="T14" fmla="*/ 48 w 96"/>
                <a:gd name="T15" fmla="*/ 6 h 96"/>
                <a:gd name="T16" fmla="*/ 90 w 96"/>
                <a:gd name="T17" fmla="*/ 48 h 96"/>
                <a:gd name="T18" fmla="*/ 48 w 96"/>
                <a:gd name="T19" fmla="*/ 9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1" y="0"/>
                    <a:pt x="0" y="21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5" y="96"/>
                    <a:pt x="96" y="75"/>
                    <a:pt x="96" y="48"/>
                  </a:cubicBezTo>
                  <a:cubicBezTo>
                    <a:pt x="96" y="21"/>
                    <a:pt x="75" y="0"/>
                    <a:pt x="48" y="0"/>
                  </a:cubicBezTo>
                  <a:close/>
                  <a:moveTo>
                    <a:pt x="48" y="90"/>
                  </a:moveTo>
                  <a:cubicBezTo>
                    <a:pt x="25" y="90"/>
                    <a:pt x="6" y="71"/>
                    <a:pt x="6" y="48"/>
                  </a:cubicBezTo>
                  <a:cubicBezTo>
                    <a:pt x="6" y="25"/>
                    <a:pt x="25" y="6"/>
                    <a:pt x="48" y="6"/>
                  </a:cubicBezTo>
                  <a:cubicBezTo>
                    <a:pt x="71" y="6"/>
                    <a:pt x="90" y="25"/>
                    <a:pt x="90" y="48"/>
                  </a:cubicBezTo>
                  <a:cubicBezTo>
                    <a:pt x="90" y="71"/>
                    <a:pt x="71" y="90"/>
                    <a:pt x="48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62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96993DEC-6906-9846-A984-A15199585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460625" y="395546"/>
              <a:ext cx="207962" cy="206375"/>
            </a:xfrm>
            <a:custGeom>
              <a:avLst/>
              <a:gdLst>
                <a:gd name="T0" fmla="*/ 27 w 55"/>
                <a:gd name="T1" fmla="*/ 0 h 55"/>
                <a:gd name="T2" fmla="*/ 0 w 55"/>
                <a:gd name="T3" fmla="*/ 28 h 55"/>
                <a:gd name="T4" fmla="*/ 27 w 55"/>
                <a:gd name="T5" fmla="*/ 55 h 55"/>
                <a:gd name="T6" fmla="*/ 55 w 55"/>
                <a:gd name="T7" fmla="*/ 28 h 55"/>
                <a:gd name="T8" fmla="*/ 27 w 55"/>
                <a:gd name="T9" fmla="*/ 0 h 55"/>
                <a:gd name="T10" fmla="*/ 27 w 55"/>
                <a:gd name="T11" fmla="*/ 49 h 55"/>
                <a:gd name="T12" fmla="*/ 6 w 55"/>
                <a:gd name="T13" fmla="*/ 28 h 55"/>
                <a:gd name="T14" fmla="*/ 27 w 55"/>
                <a:gd name="T15" fmla="*/ 7 h 55"/>
                <a:gd name="T16" fmla="*/ 48 w 55"/>
                <a:gd name="T17" fmla="*/ 28 h 55"/>
                <a:gd name="T18" fmla="*/ 27 w 55"/>
                <a:gd name="T19" fmla="*/ 4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27" y="0"/>
                  </a:moveTo>
                  <a:cubicBezTo>
                    <a:pt x="12" y="0"/>
                    <a:pt x="0" y="13"/>
                    <a:pt x="0" y="28"/>
                  </a:cubicBezTo>
                  <a:cubicBezTo>
                    <a:pt x="0" y="43"/>
                    <a:pt x="12" y="55"/>
                    <a:pt x="27" y="55"/>
                  </a:cubicBezTo>
                  <a:cubicBezTo>
                    <a:pt x="42" y="55"/>
                    <a:pt x="55" y="43"/>
                    <a:pt x="55" y="28"/>
                  </a:cubicBezTo>
                  <a:cubicBezTo>
                    <a:pt x="55" y="13"/>
                    <a:pt x="42" y="0"/>
                    <a:pt x="27" y="0"/>
                  </a:cubicBezTo>
                  <a:close/>
                  <a:moveTo>
                    <a:pt x="27" y="49"/>
                  </a:moveTo>
                  <a:cubicBezTo>
                    <a:pt x="16" y="49"/>
                    <a:pt x="6" y="39"/>
                    <a:pt x="6" y="28"/>
                  </a:cubicBezTo>
                  <a:cubicBezTo>
                    <a:pt x="6" y="17"/>
                    <a:pt x="16" y="7"/>
                    <a:pt x="27" y="7"/>
                  </a:cubicBezTo>
                  <a:cubicBezTo>
                    <a:pt x="38" y="7"/>
                    <a:pt x="48" y="17"/>
                    <a:pt x="48" y="28"/>
                  </a:cubicBezTo>
                  <a:cubicBezTo>
                    <a:pt x="48" y="39"/>
                    <a:pt x="38" y="49"/>
                    <a:pt x="27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62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38" name="Shape 2616">
            <a:extLst>
              <a:ext uri="{FF2B5EF4-FFF2-40B4-BE49-F238E27FC236}">
                <a16:creationId xmlns:a16="http://schemas.microsoft.com/office/drawing/2014/main" id="{9753325C-0DE1-1845-A665-D655BFFB81FC}"/>
              </a:ext>
            </a:extLst>
          </p:cNvPr>
          <p:cNvSpPr>
            <a:spLocks noChangeAspect="1"/>
          </p:cNvSpPr>
          <p:nvPr/>
        </p:nvSpPr>
        <p:spPr>
          <a:xfrm>
            <a:off x="2081738" y="3061979"/>
            <a:ext cx="565549" cy="5141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16" y="20520"/>
                </a:moveTo>
                <a:cubicBezTo>
                  <a:pt x="1258" y="18675"/>
                  <a:pt x="2752" y="17923"/>
                  <a:pt x="4191" y="17361"/>
                </a:cubicBezTo>
                <a:cubicBezTo>
                  <a:pt x="5156" y="17087"/>
                  <a:pt x="6884" y="15971"/>
                  <a:pt x="6884" y="13567"/>
                </a:cubicBezTo>
                <a:cubicBezTo>
                  <a:pt x="6884" y="11510"/>
                  <a:pt x="6113" y="10507"/>
                  <a:pt x="5698" y="9969"/>
                </a:cubicBezTo>
                <a:cubicBezTo>
                  <a:pt x="5646" y="9902"/>
                  <a:pt x="5599" y="9842"/>
                  <a:pt x="5562" y="9786"/>
                </a:cubicBezTo>
                <a:cubicBezTo>
                  <a:pt x="5550" y="9769"/>
                  <a:pt x="5538" y="9752"/>
                  <a:pt x="5526" y="9735"/>
                </a:cubicBezTo>
                <a:cubicBezTo>
                  <a:pt x="5491" y="9662"/>
                  <a:pt x="5297" y="9177"/>
                  <a:pt x="5553" y="8011"/>
                </a:cubicBezTo>
                <a:cubicBezTo>
                  <a:pt x="5604" y="7777"/>
                  <a:pt x="5583" y="7531"/>
                  <a:pt x="5493" y="7312"/>
                </a:cubicBezTo>
                <a:cubicBezTo>
                  <a:pt x="5249" y="6721"/>
                  <a:pt x="4603" y="5151"/>
                  <a:pt x="5035" y="3988"/>
                </a:cubicBezTo>
                <a:cubicBezTo>
                  <a:pt x="5619" y="2411"/>
                  <a:pt x="6140" y="2099"/>
                  <a:pt x="7085" y="1642"/>
                </a:cubicBezTo>
                <a:cubicBezTo>
                  <a:pt x="7132" y="1619"/>
                  <a:pt x="7177" y="1592"/>
                  <a:pt x="7220" y="1562"/>
                </a:cubicBezTo>
                <a:cubicBezTo>
                  <a:pt x="7458" y="1393"/>
                  <a:pt x="8233" y="1080"/>
                  <a:pt x="9029" y="1080"/>
                </a:cubicBezTo>
                <a:cubicBezTo>
                  <a:pt x="9467" y="1080"/>
                  <a:pt x="9840" y="1172"/>
                  <a:pt x="10137" y="1353"/>
                </a:cubicBezTo>
                <a:cubicBezTo>
                  <a:pt x="10491" y="1569"/>
                  <a:pt x="10825" y="1968"/>
                  <a:pt x="11308" y="3213"/>
                </a:cubicBezTo>
                <a:cubicBezTo>
                  <a:pt x="11991" y="4974"/>
                  <a:pt x="11820" y="6477"/>
                  <a:pt x="11347" y="7186"/>
                </a:cubicBezTo>
                <a:cubicBezTo>
                  <a:pt x="11175" y="7442"/>
                  <a:pt x="11116" y="7769"/>
                  <a:pt x="11184" y="8078"/>
                </a:cubicBezTo>
                <a:cubicBezTo>
                  <a:pt x="11422" y="9164"/>
                  <a:pt x="11247" y="9602"/>
                  <a:pt x="11210" y="9679"/>
                </a:cubicBezTo>
                <a:cubicBezTo>
                  <a:pt x="11181" y="9712"/>
                  <a:pt x="11153" y="9748"/>
                  <a:pt x="11129" y="9786"/>
                </a:cubicBezTo>
                <a:cubicBezTo>
                  <a:pt x="11091" y="9842"/>
                  <a:pt x="11044" y="9902"/>
                  <a:pt x="10992" y="9969"/>
                </a:cubicBezTo>
                <a:cubicBezTo>
                  <a:pt x="10578" y="10507"/>
                  <a:pt x="9806" y="11510"/>
                  <a:pt x="9806" y="13567"/>
                </a:cubicBezTo>
                <a:cubicBezTo>
                  <a:pt x="9806" y="15972"/>
                  <a:pt x="11535" y="17087"/>
                  <a:pt x="12500" y="17361"/>
                </a:cubicBezTo>
                <a:cubicBezTo>
                  <a:pt x="13925" y="17916"/>
                  <a:pt x="15432" y="18665"/>
                  <a:pt x="15675" y="20520"/>
                </a:cubicBezTo>
                <a:cubicBezTo>
                  <a:pt x="15675" y="20520"/>
                  <a:pt x="1016" y="20520"/>
                  <a:pt x="1016" y="20520"/>
                </a:cubicBezTo>
                <a:close/>
                <a:moveTo>
                  <a:pt x="12782" y="16326"/>
                </a:moveTo>
                <a:cubicBezTo>
                  <a:pt x="12782" y="16326"/>
                  <a:pt x="10788" y="15813"/>
                  <a:pt x="10788" y="13567"/>
                </a:cubicBezTo>
                <a:cubicBezTo>
                  <a:pt x="10788" y="11595"/>
                  <a:pt x="11607" y="10900"/>
                  <a:pt x="11923" y="10420"/>
                </a:cubicBezTo>
                <a:cubicBezTo>
                  <a:pt x="11923" y="10420"/>
                  <a:pt x="12573" y="9806"/>
                  <a:pt x="12138" y="7825"/>
                </a:cubicBezTo>
                <a:cubicBezTo>
                  <a:pt x="12863" y="6740"/>
                  <a:pt x="12999" y="4821"/>
                  <a:pt x="12211" y="2789"/>
                </a:cubicBezTo>
                <a:cubicBezTo>
                  <a:pt x="11716" y="1514"/>
                  <a:pt x="11279" y="815"/>
                  <a:pt x="10613" y="409"/>
                </a:cubicBezTo>
                <a:cubicBezTo>
                  <a:pt x="10124" y="111"/>
                  <a:pt x="9569" y="0"/>
                  <a:pt x="9029" y="0"/>
                </a:cubicBezTo>
                <a:cubicBezTo>
                  <a:pt x="8023" y="0"/>
                  <a:pt x="7070" y="384"/>
                  <a:pt x="6690" y="653"/>
                </a:cubicBezTo>
                <a:cubicBezTo>
                  <a:pt x="5576" y="1192"/>
                  <a:pt x="4828" y="1688"/>
                  <a:pt x="4126" y="3579"/>
                </a:cubicBezTo>
                <a:cubicBezTo>
                  <a:pt x="3556" y="5114"/>
                  <a:pt x="4241" y="6891"/>
                  <a:pt x="4598" y="7757"/>
                </a:cubicBezTo>
                <a:cubicBezTo>
                  <a:pt x="4163" y="9739"/>
                  <a:pt x="4767" y="10420"/>
                  <a:pt x="4767" y="10420"/>
                </a:cubicBezTo>
                <a:cubicBezTo>
                  <a:pt x="5083" y="10900"/>
                  <a:pt x="5903" y="11595"/>
                  <a:pt x="5903" y="13567"/>
                </a:cubicBezTo>
                <a:cubicBezTo>
                  <a:pt x="5903" y="15813"/>
                  <a:pt x="3909" y="16326"/>
                  <a:pt x="3909" y="16326"/>
                </a:cubicBezTo>
                <a:cubicBezTo>
                  <a:pt x="2642" y="16817"/>
                  <a:pt x="0" y="17821"/>
                  <a:pt x="0" y="21060"/>
                </a:cubicBezTo>
                <a:cubicBezTo>
                  <a:pt x="0" y="21060"/>
                  <a:pt x="0" y="21600"/>
                  <a:pt x="491" y="21600"/>
                </a:cubicBezTo>
                <a:lnTo>
                  <a:pt x="16200" y="21600"/>
                </a:lnTo>
                <a:cubicBezTo>
                  <a:pt x="16691" y="21600"/>
                  <a:pt x="16691" y="21060"/>
                  <a:pt x="16691" y="21060"/>
                </a:cubicBezTo>
                <a:cubicBezTo>
                  <a:pt x="16691" y="17821"/>
                  <a:pt x="14048" y="16817"/>
                  <a:pt x="12782" y="16326"/>
                </a:cubicBezTo>
                <a:moveTo>
                  <a:pt x="18035" y="15774"/>
                </a:moveTo>
                <a:cubicBezTo>
                  <a:pt x="18035" y="15774"/>
                  <a:pt x="16217" y="15312"/>
                  <a:pt x="16217" y="13291"/>
                </a:cubicBezTo>
                <a:cubicBezTo>
                  <a:pt x="16217" y="11515"/>
                  <a:pt x="17087" y="10890"/>
                  <a:pt x="17376" y="10458"/>
                </a:cubicBezTo>
                <a:cubicBezTo>
                  <a:pt x="17376" y="10458"/>
                  <a:pt x="17968" y="9906"/>
                  <a:pt x="17572" y="8122"/>
                </a:cubicBezTo>
                <a:cubicBezTo>
                  <a:pt x="18232" y="7146"/>
                  <a:pt x="18387" y="5419"/>
                  <a:pt x="17669" y="3590"/>
                </a:cubicBezTo>
                <a:cubicBezTo>
                  <a:pt x="17218" y="2442"/>
                  <a:pt x="16666" y="1814"/>
                  <a:pt x="16059" y="1449"/>
                </a:cubicBezTo>
                <a:cubicBezTo>
                  <a:pt x="15612" y="1180"/>
                  <a:pt x="15107" y="1081"/>
                  <a:pt x="14614" y="1081"/>
                </a:cubicBezTo>
                <a:cubicBezTo>
                  <a:pt x="13880" y="1081"/>
                  <a:pt x="13182" y="1301"/>
                  <a:pt x="12753" y="1514"/>
                </a:cubicBezTo>
                <a:cubicBezTo>
                  <a:pt x="12878" y="1781"/>
                  <a:pt x="12997" y="2064"/>
                  <a:pt x="13115" y="2366"/>
                </a:cubicBezTo>
                <a:cubicBezTo>
                  <a:pt x="13131" y="2409"/>
                  <a:pt x="13143" y="2453"/>
                  <a:pt x="13159" y="2496"/>
                </a:cubicBezTo>
                <a:cubicBezTo>
                  <a:pt x="13436" y="2360"/>
                  <a:pt x="13994" y="2160"/>
                  <a:pt x="14614" y="2160"/>
                </a:cubicBezTo>
                <a:cubicBezTo>
                  <a:pt x="15001" y="2160"/>
                  <a:pt x="15328" y="2239"/>
                  <a:pt x="15588" y="2396"/>
                </a:cubicBezTo>
                <a:cubicBezTo>
                  <a:pt x="15893" y="2579"/>
                  <a:pt x="16347" y="2947"/>
                  <a:pt x="16767" y="4019"/>
                </a:cubicBezTo>
                <a:cubicBezTo>
                  <a:pt x="17366" y="5541"/>
                  <a:pt x="17207" y="6853"/>
                  <a:pt x="16784" y="7478"/>
                </a:cubicBezTo>
                <a:cubicBezTo>
                  <a:pt x="16610" y="7736"/>
                  <a:pt x="16549" y="8067"/>
                  <a:pt x="16618" y="8379"/>
                </a:cubicBezTo>
                <a:cubicBezTo>
                  <a:pt x="16817" y="9273"/>
                  <a:pt x="16689" y="9648"/>
                  <a:pt x="16656" y="9723"/>
                </a:cubicBezTo>
                <a:cubicBezTo>
                  <a:pt x="16631" y="9754"/>
                  <a:pt x="16607" y="9786"/>
                  <a:pt x="16584" y="9820"/>
                </a:cubicBezTo>
                <a:cubicBezTo>
                  <a:pt x="16565" y="9848"/>
                  <a:pt x="16497" y="9929"/>
                  <a:pt x="16447" y="9988"/>
                </a:cubicBezTo>
                <a:cubicBezTo>
                  <a:pt x="16023" y="10488"/>
                  <a:pt x="15236" y="11419"/>
                  <a:pt x="15236" y="13291"/>
                </a:cubicBezTo>
                <a:cubicBezTo>
                  <a:pt x="15236" y="15520"/>
                  <a:pt x="16851" y="16555"/>
                  <a:pt x="17757" y="16810"/>
                </a:cubicBezTo>
                <a:cubicBezTo>
                  <a:pt x="19050" y="17307"/>
                  <a:pt x="20311" y="17926"/>
                  <a:pt x="20570" y="19440"/>
                </a:cubicBezTo>
                <a:lnTo>
                  <a:pt x="17464" y="19440"/>
                </a:lnTo>
                <a:cubicBezTo>
                  <a:pt x="17553" y="19773"/>
                  <a:pt x="17615" y="20132"/>
                  <a:pt x="17645" y="20520"/>
                </a:cubicBezTo>
                <a:lnTo>
                  <a:pt x="21152" y="20520"/>
                </a:lnTo>
                <a:cubicBezTo>
                  <a:pt x="21600" y="20520"/>
                  <a:pt x="21600" y="20034"/>
                  <a:pt x="21600" y="20034"/>
                </a:cubicBezTo>
                <a:cubicBezTo>
                  <a:pt x="21600" y="17119"/>
                  <a:pt x="19191" y="16215"/>
                  <a:pt x="18035" y="15774"/>
                </a:cubicBezTo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BEFAF4-9FD2-4781-A9E4-2EC8E8940CE7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33476A-F9CC-4203-A86D-550BA57060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301" y="178916"/>
            <a:ext cx="3048000" cy="78105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94E2FE5-A46B-4B06-8E07-660B50A861B7}"/>
              </a:ext>
            </a:extLst>
          </p:cNvPr>
          <p:cNvCxnSpPr/>
          <p:nvPr/>
        </p:nvCxnSpPr>
        <p:spPr>
          <a:xfrm>
            <a:off x="5377343" y="273501"/>
            <a:ext cx="0" cy="591881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B56F3D1D-FDF2-4AAA-B303-55AD7517CAA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7606" y="290061"/>
            <a:ext cx="3653564" cy="52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60103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445A6D-4571-44E7-BC13-55DCD688E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g. Payment Amount by Stat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D062A3D-74E4-4EDB-840F-6CF9895DCFC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231" y="1229193"/>
            <a:ext cx="10397014" cy="4991726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B8F9790-2F75-4BED-B9B2-49AE0FA2B3F0}"/>
              </a:ext>
            </a:extLst>
          </p:cNvPr>
          <p:cNvSpPr/>
          <p:nvPr/>
        </p:nvSpPr>
        <p:spPr>
          <a:xfrm>
            <a:off x="8988625" y="6220919"/>
            <a:ext cx="2913565" cy="4223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7623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809AD5A-8F88-4A23-A44C-0AA6046648E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25" y="351173"/>
            <a:ext cx="11347554" cy="5889921"/>
          </a:xfr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D0B0DCD-3078-4AFD-BE54-F42E11F22710}"/>
              </a:ext>
            </a:extLst>
          </p:cNvPr>
          <p:cNvSpPr/>
          <p:nvPr/>
        </p:nvSpPr>
        <p:spPr>
          <a:xfrm>
            <a:off x="9023230" y="6241094"/>
            <a:ext cx="2898476" cy="453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7057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85D7C98-D556-4C0D-B8B1-A40CE9240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6361" y="1401761"/>
            <a:ext cx="11179277" cy="1600201"/>
          </a:xfrm>
        </p:spPr>
        <p:txBody>
          <a:bodyPr vert="horz" lIns="0" tIns="0" rIns="0" bIns="0" rtlCol="0" anchor="b">
            <a:noAutofit/>
          </a:bodyPr>
          <a:lstStyle/>
          <a:p>
            <a:pPr algn="ctr">
              <a:lnSpc>
                <a:spcPct val="90000"/>
              </a:lnSpc>
            </a:pPr>
            <a:br>
              <a:rPr lang="en-US" spc="500" dirty="0">
                <a:latin typeface="Poppins Medium" panose="02000000000000000000" pitchFamily="2" charset="0"/>
                <a:cs typeface="+mj-cs"/>
              </a:rPr>
            </a:br>
            <a:endParaRPr lang="en-US" sz="2000" b="1" kern="1200" spc="500" dirty="0">
              <a:solidFill>
                <a:schemeClr val="bg1"/>
              </a:solidFill>
              <a:latin typeface="Poppins Medium" panose="02000000000000000000" pitchFamily="2" charset="0"/>
              <a:ea typeface="+mj-ea"/>
              <a:cs typeface="+mj-cs"/>
            </a:endParaRPr>
          </a:p>
          <a:p>
            <a:pPr algn="ctr">
              <a:lnSpc>
                <a:spcPct val="90000"/>
              </a:lnSpc>
            </a:pPr>
            <a:r>
              <a:rPr lang="en-US" kern="1200" spc="500" dirty="0">
                <a:solidFill>
                  <a:schemeClr val="bg1"/>
                </a:solidFill>
                <a:latin typeface="Poppins Medium" panose="02000000000000000000" pitchFamily="2" charset="0"/>
                <a:ea typeface="+mj-ea"/>
                <a:cs typeface="+mj-cs"/>
              </a:rPr>
              <a:t>Improved Revenue Cyc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DB484DD-5337-40B1-AC66-333F9D3EF290}"/>
              </a:ext>
            </a:extLst>
          </p:cNvPr>
          <p:cNvSpPr txBox="1"/>
          <p:nvPr/>
        </p:nvSpPr>
        <p:spPr>
          <a:xfrm>
            <a:off x="8615363" y="6100763"/>
            <a:ext cx="3314700" cy="55721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353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>
            <a:extLst>
              <a:ext uri="{FF2B5EF4-FFF2-40B4-BE49-F238E27FC236}">
                <a16:creationId xmlns:a16="http://schemas.microsoft.com/office/drawing/2014/main" id="{ED8E7CB8-D1EF-4DB9-9B56-560347D5E0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7386" y="476834"/>
            <a:ext cx="4292999" cy="5366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Placeholder 11">
            <a:extLst>
              <a:ext uri="{FF2B5EF4-FFF2-40B4-BE49-F238E27FC236}">
                <a16:creationId xmlns:a16="http://schemas.microsoft.com/office/drawing/2014/main" id="{03B0E6F1-363D-49A1-984E-40612FD5EE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36024" y="1118317"/>
            <a:ext cx="2041641" cy="2041641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01912169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7E0FBAE-EDA6-4B77-B539-5057F4595E73}"/>
              </a:ext>
            </a:extLst>
          </p:cNvPr>
          <p:cNvSpPr/>
          <p:nvPr/>
        </p:nvSpPr>
        <p:spPr>
          <a:xfrm>
            <a:off x="461554" y="985256"/>
            <a:ext cx="11251475" cy="129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8AD55E-73C6-40FB-B950-E427E4A8C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Poppins Light"/>
                <a:cs typeface="Poppins Light"/>
              </a:rPr>
              <a:t>Focus on maximizing staff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F30B1976-E184-4FB1-9FEB-E5F511AF3EDF}"/>
              </a:ext>
            </a:extLst>
          </p:cNvPr>
          <p:cNvSpPr txBox="1">
            <a:spLocks/>
          </p:cNvSpPr>
          <p:nvPr/>
        </p:nvSpPr>
        <p:spPr>
          <a:xfrm>
            <a:off x="523240" y="1193540"/>
            <a:ext cx="11450319" cy="7697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>
                <a:solidFill>
                  <a:srgbClr val="53555C"/>
                </a:solidFill>
                <a:latin typeface="Poppins" panose="020000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>
                <a:solidFill>
                  <a:srgbClr val="53555C"/>
                </a:solidFill>
                <a:latin typeface="Poppins" panose="020000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rgbClr val="53555C"/>
                </a:solidFill>
                <a:latin typeface="Poppins" panose="020000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rgbClr val="53555C"/>
                </a:solidFill>
                <a:latin typeface="Poppins" panose="020000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Back to the mission at hand.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2EBEBEC-21A7-4771-9672-FB833AFC75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1943111"/>
              </p:ext>
            </p:extLst>
          </p:nvPr>
        </p:nvGraphicFramePr>
        <p:xfrm>
          <a:off x="609601" y="2181138"/>
          <a:ext cx="5912632" cy="38561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9688094-93FD-418A-95F0-651398C99F64}"/>
              </a:ext>
            </a:extLst>
          </p:cNvPr>
          <p:cNvSpPr txBox="1">
            <a:spLocks/>
          </p:cNvSpPr>
          <p:nvPr/>
        </p:nvSpPr>
        <p:spPr>
          <a:xfrm>
            <a:off x="6760789" y="2521656"/>
            <a:ext cx="5067688" cy="335108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404146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rPr>
              <a:t>What </a:t>
            </a:r>
            <a:r>
              <a:rPr lang="en-US" sz="2400" dirty="0">
                <a:solidFill>
                  <a:schemeClr val="tx2"/>
                </a:solidFill>
                <a:latin typeface="Poppins Medium" panose="02000000000000000000" pitchFamily="2" charset="0"/>
                <a:cs typeface="Poppins Medium" panose="02000000000000000000" pitchFamily="2" charset="0"/>
              </a:rPr>
              <a:t>to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rPr>
              <a:t> look for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Poppins Medium" panose="02000000000000000000" pitchFamily="2" charset="0"/>
                <a:ea typeface="+mn-ea"/>
                <a:cs typeface="Poppins Medium" panose="02000000000000000000" pitchFamily="2" charset="0"/>
              </a:rPr>
              <a:t>:</a:t>
            </a:r>
          </a:p>
          <a:p>
            <a:pPr marL="365760" indent="-365760">
              <a:lnSpc>
                <a:spcPct val="110000"/>
              </a:lnSpc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rPr>
              <a:t>Patient likelihood to pay</a:t>
            </a:r>
          </a:p>
          <a:p>
            <a:pPr marL="365760" indent="-365760">
              <a:lnSpc>
                <a:spcPct val="110000"/>
              </a:lnSpc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rPr>
              <a:t>Simple enrollment; no credit checks to patients</a:t>
            </a:r>
          </a:p>
          <a:p>
            <a:pPr marL="365760" indent="-365760">
              <a:lnSpc>
                <a:spcPct val="110000"/>
              </a:lnSpc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rPr>
              <a:t>Refunded fee if patient defaults</a:t>
            </a:r>
          </a:p>
          <a:p>
            <a:pPr marL="365760" indent="-365760">
              <a:lnSpc>
                <a:spcPct val="110000"/>
              </a:lnSpc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rPr>
              <a:t>Automatic 835 post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ACD403-3E81-4E3C-AA39-48406F4FF9F5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4944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9AD8BE5-D143-4144-B6C6-CA3833C9D287}"/>
              </a:ext>
            </a:extLst>
          </p:cNvPr>
          <p:cNvSpPr/>
          <p:nvPr/>
        </p:nvSpPr>
        <p:spPr>
          <a:xfrm>
            <a:off x="461554" y="985256"/>
            <a:ext cx="11251475" cy="129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AD1CCF-0640-4CB8-8E15-42B635978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be honest.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3EEE86D-195C-47CA-8E01-217E2B4922AD}"/>
              </a:ext>
            </a:extLst>
          </p:cNvPr>
          <p:cNvSpPr txBox="1">
            <a:spLocks/>
          </p:cNvSpPr>
          <p:nvPr/>
        </p:nvSpPr>
        <p:spPr>
          <a:xfrm>
            <a:off x="494030" y="1065950"/>
            <a:ext cx="11450319" cy="76977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  <a:lvl2pPr marL="685800" indent="-2286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>
                <a:solidFill>
                  <a:srgbClr val="53555C"/>
                </a:solidFill>
                <a:latin typeface="Poppins" panose="02000000000000000000" pitchFamily="2" charset="0"/>
              </a:defRPr>
            </a:lvl2pPr>
            <a:lvl3pPr marL="1143000" indent="-2286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>
                <a:solidFill>
                  <a:srgbClr val="53555C"/>
                </a:solidFill>
                <a:latin typeface="Poppins" panose="02000000000000000000" pitchFamily="2" charset="0"/>
              </a:defRPr>
            </a:lvl3pPr>
            <a:lvl4pPr marL="1600200" indent="-2286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rgbClr val="53555C"/>
                </a:solidFill>
                <a:latin typeface="Poppins" panose="02000000000000000000" pitchFamily="2" charset="0"/>
              </a:defRPr>
            </a:lvl4pPr>
            <a:lvl5pPr marL="2057400" indent="-22860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rgbClr val="53555C"/>
                </a:solidFill>
                <a:latin typeface="Poppins" panose="02000000000000000000" pitchFamily="2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Implementing new processes isn’t easy...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1E935F5-21A4-48A5-9552-DBF494BED4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3752693"/>
              </p:ext>
            </p:extLst>
          </p:nvPr>
        </p:nvGraphicFramePr>
        <p:xfrm>
          <a:off x="1710824" y="2084202"/>
          <a:ext cx="9886089" cy="42257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1A7C8B8-231A-4269-B788-8A2D356E91C4}"/>
              </a:ext>
            </a:extLst>
          </p:cNvPr>
          <p:cNvSpPr txBox="1">
            <a:spLocks/>
          </p:cNvSpPr>
          <p:nvPr/>
        </p:nvSpPr>
        <p:spPr>
          <a:xfrm>
            <a:off x="1062809" y="2421097"/>
            <a:ext cx="2362322" cy="2519444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rPr>
              <a:t>It’s challenging…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BD98AE1-E82E-4CA7-B40D-D3C34E2A3A9F}"/>
              </a:ext>
            </a:extLst>
          </p:cNvPr>
          <p:cNvSpPr txBox="1">
            <a:spLocks/>
          </p:cNvSpPr>
          <p:nvPr/>
        </p:nvSpPr>
        <p:spPr>
          <a:xfrm>
            <a:off x="6109786" y="2516347"/>
            <a:ext cx="1401236" cy="9126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b="1" kern="1200" baseline="0">
                <a:solidFill>
                  <a:srgbClr val="69767D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4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Poppins" panose="02000000000000000000" pitchFamily="2" charset="0"/>
                <a:cs typeface="Poppins" panose="02000000000000000000" pitchFamily="2" charset="0"/>
              </a:rPr>
              <a:t>So…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Poppins" panose="02000000000000000000" pitchFamily="2" charset="0"/>
              <a:cs typeface="Poppins" panose="02000000000000000000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E4F231-C9B5-4189-88CF-9330AEE1A9D5}"/>
              </a:ext>
            </a:extLst>
          </p:cNvPr>
          <p:cNvSpPr/>
          <p:nvPr/>
        </p:nvSpPr>
        <p:spPr>
          <a:xfrm>
            <a:off x="9104242" y="6309958"/>
            <a:ext cx="2840107" cy="3764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28645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C1ED3A1-053C-469F-9F59-9A31D4FD2C94}"/>
              </a:ext>
            </a:extLst>
          </p:cNvPr>
          <p:cNvSpPr/>
          <p:nvPr/>
        </p:nvSpPr>
        <p:spPr>
          <a:xfrm>
            <a:off x="461554" y="985256"/>
            <a:ext cx="11251475" cy="129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ra PRO"/>
              <a:ea typeface="+mn-ea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894ED3D-4886-4A30-8FA6-672D984111AC}"/>
              </a:ext>
            </a:extLst>
          </p:cNvPr>
          <p:cNvSpPr txBox="1">
            <a:spLocks/>
          </p:cNvSpPr>
          <p:nvPr/>
        </p:nvSpPr>
        <p:spPr>
          <a:xfrm>
            <a:off x="7340021" y="2748875"/>
            <a:ext cx="4503204" cy="2039676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Aft>
                <a:spcPts val="600"/>
              </a:spcAft>
              <a:buClr>
                <a:srgbClr val="404146"/>
              </a:buClr>
              <a:buNone/>
            </a:pPr>
            <a:r>
              <a:rPr lang="en-US" sz="2400" dirty="0">
                <a:solidFill>
                  <a:schemeClr val="tx2"/>
                </a:solidFill>
                <a:latin typeface="Poppins Medium" panose="02000000000000000000" pitchFamily="2" charset="0"/>
                <a:cs typeface="Poppins Medium" panose="02000000000000000000" pitchFamily="2" charset="0"/>
              </a:rPr>
              <a:t>What can work:</a:t>
            </a:r>
          </a:p>
          <a:p>
            <a:pPr marL="365760" marR="0" lvl="0" indent="-365760" fontAlgn="auto">
              <a:lnSpc>
                <a:spcPct val="110000"/>
              </a:lnSpc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2200" dirty="0">
                <a:solidFill>
                  <a:schemeClr val="accent6"/>
                </a:solidFill>
                <a:cs typeface="Poppins" panose="02000000000000000000" pitchFamily="2" charset="0"/>
              </a:rPr>
              <a:t>Giving patients the dignity of options</a:t>
            </a:r>
          </a:p>
          <a:p>
            <a:pPr marL="365760" marR="0" lvl="0" indent="-365760" fontAlgn="auto">
              <a:lnSpc>
                <a:spcPct val="110000"/>
              </a:lnSpc>
              <a:spcAft>
                <a:spcPts val="0"/>
              </a:spcAft>
              <a:buClr>
                <a:schemeClr val="tx2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sz="2200" dirty="0">
                <a:solidFill>
                  <a:schemeClr val="accent6"/>
                </a:solidFill>
                <a:cs typeface="Poppins" panose="02000000000000000000" pitchFamily="2" charset="0"/>
              </a:rPr>
              <a:t>Reallocate staff to implement program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A1415EF-77FB-47BF-A336-D38DFFF84B4D}"/>
              </a:ext>
            </a:extLst>
          </p:cNvPr>
          <p:cNvGrpSpPr/>
          <p:nvPr/>
        </p:nvGrpSpPr>
        <p:grpSpPr>
          <a:xfrm>
            <a:off x="819559" y="1239303"/>
            <a:ext cx="6152171" cy="3995788"/>
            <a:chOff x="609599" y="2535115"/>
            <a:chExt cx="6152171" cy="3995788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B099E06-E66C-4EBE-AEBE-3D137E7A3238}"/>
                </a:ext>
              </a:extLst>
            </p:cNvPr>
            <p:cNvGrpSpPr/>
            <p:nvPr/>
          </p:nvGrpSpPr>
          <p:grpSpPr>
            <a:xfrm>
              <a:off x="609599" y="2535115"/>
              <a:ext cx="6152171" cy="3871717"/>
              <a:chOff x="609599" y="2535115"/>
              <a:chExt cx="6152171" cy="3871717"/>
            </a:xfrm>
          </p:grpSpPr>
          <p:cxnSp>
            <p:nvCxnSpPr>
              <p:cNvPr id="3" name="Straight Connector 2">
                <a:extLst>
                  <a:ext uri="{FF2B5EF4-FFF2-40B4-BE49-F238E27FC236}">
                    <a16:creationId xmlns:a16="http://schemas.microsoft.com/office/drawing/2014/main" id="{E2A67ED1-3FAF-42A8-9377-5B23360EEEE7}"/>
                  </a:ext>
                </a:extLst>
              </p:cNvPr>
              <p:cNvCxnSpPr/>
              <p:nvPr/>
            </p:nvCxnSpPr>
            <p:spPr>
              <a:xfrm>
                <a:off x="3251930" y="4106924"/>
                <a:ext cx="0" cy="838200"/>
              </a:xfrm>
              <a:prstGeom prst="line">
                <a:avLst/>
              </a:prstGeom>
              <a:ln w="28575"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" name="Straight Connector 5">
                <a:extLst>
                  <a:ext uri="{FF2B5EF4-FFF2-40B4-BE49-F238E27FC236}">
                    <a16:creationId xmlns:a16="http://schemas.microsoft.com/office/drawing/2014/main" id="{7E804722-9EEE-471E-9607-550EF7107132}"/>
                  </a:ext>
                </a:extLst>
              </p:cNvPr>
              <p:cNvCxnSpPr>
                <a:endCxn id="14" idx="1"/>
              </p:cNvCxnSpPr>
              <p:nvPr/>
            </p:nvCxnSpPr>
            <p:spPr>
              <a:xfrm>
                <a:off x="4203437" y="3910586"/>
                <a:ext cx="605828" cy="813797"/>
              </a:xfrm>
              <a:prstGeom prst="line">
                <a:avLst/>
              </a:prstGeom>
              <a:ln w="28575"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Straight Connector 6">
                <a:extLst>
                  <a:ext uri="{FF2B5EF4-FFF2-40B4-BE49-F238E27FC236}">
                    <a16:creationId xmlns:a16="http://schemas.microsoft.com/office/drawing/2014/main" id="{035D80D4-4DF5-4778-930B-E5075296560C}"/>
                  </a:ext>
                </a:extLst>
              </p:cNvPr>
              <p:cNvCxnSpPr/>
              <p:nvPr/>
            </p:nvCxnSpPr>
            <p:spPr>
              <a:xfrm>
                <a:off x="1328518" y="4087992"/>
                <a:ext cx="0" cy="838200"/>
              </a:xfrm>
              <a:prstGeom prst="line">
                <a:avLst/>
              </a:prstGeom>
              <a:ln w="28575"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C783CEF7-F927-4DA4-9EAD-C0EA78324837}"/>
                  </a:ext>
                </a:extLst>
              </p:cNvPr>
              <p:cNvGrpSpPr/>
              <p:nvPr/>
            </p:nvGrpSpPr>
            <p:grpSpPr>
              <a:xfrm>
                <a:off x="609599" y="2535115"/>
                <a:ext cx="3842240" cy="1661869"/>
                <a:chOff x="-832340" y="-1"/>
                <a:chExt cx="3842240" cy="1661869"/>
              </a:xfrm>
              <a:solidFill>
                <a:schemeClr val="tx2"/>
              </a:solidFill>
            </p:grpSpPr>
            <p:sp>
              <p:nvSpPr>
                <p:cNvPr id="9" name="Round Single Corner Rectangle 4">
                  <a:extLst>
                    <a:ext uri="{FF2B5EF4-FFF2-40B4-BE49-F238E27FC236}">
                      <a16:creationId xmlns:a16="http://schemas.microsoft.com/office/drawing/2014/main" id="{4212416D-82FE-4E81-86E2-D9FA095E11BD}"/>
                    </a:ext>
                  </a:extLst>
                </p:cNvPr>
                <p:cNvSpPr/>
                <p:nvPr/>
              </p:nvSpPr>
              <p:spPr>
                <a:xfrm rot="16200000">
                  <a:off x="257846" y="-1090186"/>
                  <a:ext cx="1661869" cy="3842239"/>
                </a:xfrm>
                <a:prstGeom prst="roundRect">
                  <a:avLst/>
                </a:prstGeom>
                <a:solidFill>
                  <a:srgbClr val="00B5E2"/>
                </a:solidFill>
                <a:ln w="3175">
                  <a:noFill/>
                </a:ln>
              </p:spPr>
              <p:style>
                <a:lnRef idx="3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1">
                  <a:schemeClr val="accent4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10" name="Round Single Corner Rectangle 4">
                  <a:extLst>
                    <a:ext uri="{FF2B5EF4-FFF2-40B4-BE49-F238E27FC236}">
                      <a16:creationId xmlns:a16="http://schemas.microsoft.com/office/drawing/2014/main" id="{0197C884-73AE-48B4-B41E-E384EBF4815D}"/>
                    </a:ext>
                  </a:extLst>
                </p:cNvPr>
                <p:cNvSpPr/>
                <p:nvPr/>
              </p:nvSpPr>
              <p:spPr>
                <a:xfrm>
                  <a:off x="-832340" y="57858"/>
                  <a:ext cx="3842240" cy="1545347"/>
                </a:xfrm>
                <a:prstGeom prst="roundRect">
                  <a:avLst/>
                </a:prstGeom>
                <a:noFill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163576" tIns="163576" rIns="163576" bIns="163576" numCol="1" spcCol="1270" anchor="ctr" anchorCtr="0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404146"/>
                    </a:buClr>
                    <a:buSzTx/>
                    <a:buFontTx/>
                    <a:buNone/>
                    <a:tabLst/>
                    <a:defRPr/>
                  </a:pPr>
                  <a:r>
                    <a:rPr kumimoji="0" lang="en-US" sz="24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Poppins SemiBold" panose="02000000000000000000" pitchFamily="2" charset="0"/>
                      <a:cs typeface="Poppins SemiBold" panose="02000000000000000000" pitchFamily="2" charset="0"/>
                    </a:rPr>
                    <a:t>Provide options, after charity pre-screen</a:t>
                  </a:r>
                </a:p>
              </p:txBody>
            </p:sp>
          </p:grpSp>
          <p:cxnSp>
            <p:nvCxnSpPr>
              <p:cNvPr id="11" name="Straight Connector 10">
                <a:extLst>
                  <a:ext uri="{FF2B5EF4-FFF2-40B4-BE49-F238E27FC236}">
                    <a16:creationId xmlns:a16="http://schemas.microsoft.com/office/drawing/2014/main" id="{A5F74354-7184-4CFA-BAAA-9C5BC16569D3}"/>
                  </a:ext>
                </a:extLst>
              </p:cNvPr>
              <p:cNvCxnSpPr/>
              <p:nvPr/>
            </p:nvCxnSpPr>
            <p:spPr>
              <a:xfrm>
                <a:off x="4451839" y="2950405"/>
                <a:ext cx="1133031" cy="6349"/>
              </a:xfrm>
              <a:prstGeom prst="line">
                <a:avLst/>
              </a:prstGeom>
              <a:ln w="28575"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E98EDF08-0AB1-46FC-8E0D-7E355C04733E}"/>
                  </a:ext>
                </a:extLst>
              </p:cNvPr>
              <p:cNvSpPr/>
              <p:nvPr/>
            </p:nvSpPr>
            <p:spPr>
              <a:xfrm>
                <a:off x="5453070" y="2630365"/>
                <a:ext cx="640080" cy="640080"/>
              </a:xfrm>
              <a:prstGeom prst="ellipse">
                <a:avLst/>
              </a:prstGeom>
              <a:solidFill>
                <a:srgbClr val="00B4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 SemiBold" panose="02000000000000000000" pitchFamily="2" charset="0"/>
                    <a:ea typeface="+mn-ea"/>
                    <a:cs typeface="Poppins SemiBold" panose="02000000000000000000" pitchFamily="2" charset="0"/>
                  </a:rPr>
                  <a:t>4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03878387-C6FD-4E6C-9FC8-7C7459E23194}"/>
                  </a:ext>
                </a:extLst>
              </p:cNvPr>
              <p:cNvSpPr/>
              <p:nvPr/>
            </p:nvSpPr>
            <p:spPr>
              <a:xfrm>
                <a:off x="1008478" y="4811844"/>
                <a:ext cx="640080" cy="640080"/>
              </a:xfrm>
              <a:prstGeom prst="ellipse">
                <a:avLst/>
              </a:prstGeom>
              <a:solidFill>
                <a:srgbClr val="FFCF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 SemiBold" panose="02000000000000000000" pitchFamily="2" charset="0"/>
                    <a:ea typeface="+mn-ea"/>
                    <a:cs typeface="Poppins SemiBold" panose="02000000000000000000" pitchFamily="2" charset="0"/>
                  </a:rPr>
                  <a:t>1</a:t>
                </a: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8BB32FE6-4428-4C0C-BB99-D7DF8655804E}"/>
                  </a:ext>
                </a:extLst>
              </p:cNvPr>
              <p:cNvSpPr/>
              <p:nvPr/>
            </p:nvSpPr>
            <p:spPr>
              <a:xfrm>
                <a:off x="4715527" y="4630645"/>
                <a:ext cx="640080" cy="640080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 SemiBold" panose="02000000000000000000" pitchFamily="2" charset="0"/>
                    <a:ea typeface="+mn-ea"/>
                    <a:cs typeface="Poppins SemiBold" panose="02000000000000000000" pitchFamily="2" charset="0"/>
                  </a:rPr>
                  <a:t>3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A8E5A81C-BDC1-4B17-B3C4-76500CD76BFE}"/>
                  </a:ext>
                </a:extLst>
              </p:cNvPr>
              <p:cNvSpPr txBox="1"/>
              <p:nvPr/>
            </p:nvSpPr>
            <p:spPr>
              <a:xfrm>
                <a:off x="4949826" y="5507454"/>
                <a:ext cx="1811944" cy="52322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04146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55C"/>
                    </a:solidFill>
                    <a:effectLst/>
                    <a:uLnTx/>
                    <a:uFillTx/>
                    <a:latin typeface="Poppins" panose="02000000000000000000" pitchFamily="2" charset="0"/>
                    <a:ea typeface="+mn-ea"/>
                    <a:cs typeface="Poppins" panose="02000000000000000000" pitchFamily="2" charset="0"/>
                  </a:rPr>
                  <a:t>Enroll in external offering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F4D2F9E-BBB9-4742-9758-C8F95F4A0EF9}"/>
                  </a:ext>
                </a:extLst>
              </p:cNvPr>
              <p:cNvSpPr txBox="1"/>
              <p:nvPr/>
            </p:nvSpPr>
            <p:spPr>
              <a:xfrm>
                <a:off x="4930140" y="3410306"/>
                <a:ext cx="1693291" cy="52322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404146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55C"/>
                    </a:solidFill>
                    <a:effectLst/>
                    <a:uLnTx/>
                    <a:uFillTx/>
                    <a:latin typeface="Poppins" panose="02000000000000000000" pitchFamily="2" charset="0"/>
                    <a:ea typeface="+mn-ea"/>
                    <a:cs typeface="Poppins" panose="02000000000000000000" pitchFamily="2" charset="0"/>
                  </a:rPr>
                  <a:t>Alternative payment plan</a:t>
                </a:r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95836B9-1031-4746-A8F7-5502E18977D5}"/>
                  </a:ext>
                </a:extLst>
              </p:cNvPr>
              <p:cNvSpPr/>
              <p:nvPr/>
            </p:nvSpPr>
            <p:spPr>
              <a:xfrm>
                <a:off x="2931890" y="4830776"/>
                <a:ext cx="640080" cy="640080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Poppins SemiBold" panose="02000000000000000000" pitchFamily="2" charset="0"/>
                    <a:ea typeface="+mn-ea"/>
                    <a:cs typeface="Poppins SemiBold" panose="02000000000000000000" pitchFamily="2" charset="0"/>
                  </a:rPr>
                  <a:t>2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1910B5A-5434-43F6-BD48-6E9055F0849C}"/>
                  </a:ext>
                </a:extLst>
              </p:cNvPr>
              <p:cNvSpPr txBox="1"/>
              <p:nvPr/>
            </p:nvSpPr>
            <p:spPr>
              <a:xfrm>
                <a:off x="659383" y="5622002"/>
                <a:ext cx="1693291" cy="784830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55C"/>
                    </a:solidFill>
                    <a:effectLst/>
                    <a:uLnTx/>
                    <a:uFillTx/>
                    <a:latin typeface="Poppins" panose="02000000000000000000" pitchFamily="2" charset="0"/>
                    <a:ea typeface="+mn-ea"/>
                    <a:cs typeface="Poppins" panose="02000000000000000000" pitchFamily="2" charset="0"/>
                  </a:rPr>
                  <a:t>Patient pays cash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endParaRP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FE97793-5DE4-4424-B339-22317F80BF22}"/>
                </a:ext>
              </a:extLst>
            </p:cNvPr>
            <p:cNvSpPr txBox="1"/>
            <p:nvPr/>
          </p:nvSpPr>
          <p:spPr>
            <a:xfrm>
              <a:off x="2470639" y="5746073"/>
              <a:ext cx="1693291" cy="78483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04146"/>
                </a:buClr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53555C"/>
                  </a:solidFill>
                  <a:effectLst/>
                  <a:uLnTx/>
                  <a:uFillTx/>
                  <a:latin typeface="Poppins" panose="02000000000000000000" pitchFamily="2" charset="0"/>
                  <a:ea typeface="+mn-ea"/>
                  <a:cs typeface="Poppins" panose="02000000000000000000" pitchFamily="2" charset="0"/>
                </a:rPr>
                <a:t>Shorten Internal payment plan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C60C851F-642A-4B1D-A35F-EFD2B4FBF7F8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556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D5F344-5D7F-455E-AC8B-1951CE2AF6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682" y="1531307"/>
            <a:ext cx="12104318" cy="1600201"/>
          </a:xfrm>
        </p:spPr>
        <p:txBody>
          <a:bodyPr>
            <a:normAutofit/>
          </a:bodyPr>
          <a:lstStyle/>
          <a:p>
            <a:r>
              <a:rPr lang="en-US" dirty="0"/>
              <a:t>Measuring Costs/Calculating Valu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8CD45FA-511B-4378-A01A-A3E8D43DA632}"/>
              </a:ext>
            </a:extLst>
          </p:cNvPr>
          <p:cNvSpPr txBox="1"/>
          <p:nvPr/>
        </p:nvSpPr>
        <p:spPr>
          <a:xfrm>
            <a:off x="8719930" y="6122504"/>
            <a:ext cx="3167270" cy="58309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7177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C05BAC4C-7774-49DC-B7E8-538A67704D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483805"/>
            <a:ext cx="11101430" cy="550636"/>
          </a:xfrm>
        </p:spPr>
        <p:txBody>
          <a:bodyPr>
            <a:noAutofit/>
          </a:bodyPr>
          <a:lstStyle/>
          <a:p>
            <a:r>
              <a:rPr lang="en-US" sz="2800" b="0" dirty="0">
                <a:solidFill>
                  <a:srgbClr val="78BE43"/>
                </a:solidFill>
              </a:rPr>
              <a:t>In-House Payment Plans: Measuring Costs/Calculating Valu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A0E7988-70E6-4376-9706-5482ACE39D94}"/>
              </a:ext>
            </a:extLst>
          </p:cNvPr>
          <p:cNvGrpSpPr/>
          <p:nvPr/>
        </p:nvGrpSpPr>
        <p:grpSpPr>
          <a:xfrm>
            <a:off x="2845266" y="1272330"/>
            <a:ext cx="6501467" cy="5187287"/>
            <a:chOff x="2633047" y="1142169"/>
            <a:chExt cx="6501467" cy="518728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A73C9D2-A5DB-4F42-B83C-041CBC78CD17}"/>
                </a:ext>
              </a:extLst>
            </p:cNvPr>
            <p:cNvGrpSpPr/>
            <p:nvPr/>
          </p:nvGrpSpPr>
          <p:grpSpPr>
            <a:xfrm>
              <a:off x="4362026" y="1142169"/>
              <a:ext cx="3251200" cy="3251200"/>
              <a:chOff x="2438399" y="310583"/>
              <a:chExt cx="3251200" cy="3251200"/>
            </a:xfrm>
            <a:solidFill>
              <a:srgbClr val="78BE43"/>
            </a:solidFill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5D0E3C41-471F-4F77-BB3E-19C4F271E6F6}"/>
                  </a:ext>
                </a:extLst>
              </p:cNvPr>
              <p:cNvSpPr/>
              <p:nvPr/>
            </p:nvSpPr>
            <p:spPr>
              <a:xfrm>
                <a:off x="2438399" y="310583"/>
                <a:ext cx="3251200" cy="3251200"/>
              </a:xfrm>
              <a:prstGeom prst="ellipse">
                <a:avLst/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11" name="Oval 4">
                <a:extLst>
                  <a:ext uri="{FF2B5EF4-FFF2-40B4-BE49-F238E27FC236}">
                    <a16:creationId xmlns:a16="http://schemas.microsoft.com/office/drawing/2014/main" id="{C95E1C0D-121C-4548-95AE-1CA87FBFCDE8}"/>
                  </a:ext>
                </a:extLst>
              </p:cNvPr>
              <p:cNvSpPr txBox="1"/>
              <p:nvPr/>
            </p:nvSpPr>
            <p:spPr>
              <a:xfrm>
                <a:off x="2842259" y="995184"/>
                <a:ext cx="2443480" cy="1463040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marR="0" lvl="0" indent="0" algn="ctr" defTabSz="2355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Poppins" panose="02000000000000000000" pitchFamily="2" charset="0"/>
                    <a:cs typeface="Poppins" panose="02000000000000000000" pitchFamily="2" charset="0"/>
                  </a:rPr>
                  <a:t>Weighted Average Cost of Capital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0EC73D6-7692-4C19-8E38-DCC29741B57E}"/>
                </a:ext>
              </a:extLst>
            </p:cNvPr>
            <p:cNvGrpSpPr/>
            <p:nvPr/>
          </p:nvGrpSpPr>
          <p:grpSpPr>
            <a:xfrm>
              <a:off x="5883314" y="3075413"/>
              <a:ext cx="3251200" cy="3251200"/>
              <a:chOff x="3851314" y="2117210"/>
              <a:chExt cx="3251200" cy="3251200"/>
            </a:xfrm>
            <a:solidFill>
              <a:srgbClr val="006747"/>
            </a:solidFill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955FDD3-5012-45AD-AC23-2E234A855010}"/>
                  </a:ext>
                </a:extLst>
              </p:cNvPr>
              <p:cNvSpPr/>
              <p:nvPr/>
            </p:nvSpPr>
            <p:spPr>
              <a:xfrm>
                <a:off x="3851314" y="2117210"/>
                <a:ext cx="3251200" cy="3251200"/>
              </a:xfrm>
              <a:prstGeom prst="ellipse">
                <a:avLst/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14" name="Oval 6">
                <a:extLst>
                  <a:ext uri="{FF2B5EF4-FFF2-40B4-BE49-F238E27FC236}">
                    <a16:creationId xmlns:a16="http://schemas.microsoft.com/office/drawing/2014/main" id="{09979FC8-D780-42BC-AE69-DDC2321DB8E4}"/>
                  </a:ext>
                </a:extLst>
              </p:cNvPr>
              <p:cNvSpPr txBox="1"/>
              <p:nvPr/>
            </p:nvSpPr>
            <p:spPr>
              <a:xfrm>
                <a:off x="4566747" y="2948524"/>
                <a:ext cx="1820334" cy="1588571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marR="0" lvl="0" indent="0" algn="ctr" defTabSz="2355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Poppins" panose="02000000000000000000" pitchFamily="2" charset="0"/>
                    <a:cs typeface="Poppins" panose="02000000000000000000" pitchFamily="2" charset="0"/>
                  </a:rPr>
                  <a:t>Bad Debt Rate</a:t>
                </a: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83C89A6F-284B-465F-B7FA-1A435AF1FB0D}"/>
                </a:ext>
              </a:extLst>
            </p:cNvPr>
            <p:cNvGrpSpPr/>
            <p:nvPr/>
          </p:nvGrpSpPr>
          <p:grpSpPr>
            <a:xfrm>
              <a:off x="2633047" y="3078256"/>
              <a:ext cx="3251200" cy="3251200"/>
              <a:chOff x="601047" y="2120053"/>
              <a:chExt cx="3251200" cy="3251200"/>
            </a:xfrm>
            <a:solidFill>
              <a:srgbClr val="00B5E2"/>
            </a:solidFill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17756448-2296-435F-A798-08C7D18327A9}"/>
                  </a:ext>
                </a:extLst>
              </p:cNvPr>
              <p:cNvSpPr/>
              <p:nvPr/>
            </p:nvSpPr>
            <p:spPr>
              <a:xfrm>
                <a:off x="601047" y="2120053"/>
                <a:ext cx="3251200" cy="3251200"/>
              </a:xfrm>
              <a:prstGeom prst="ellipse">
                <a:avLst/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17" name="Oval 8">
                <a:extLst>
                  <a:ext uri="{FF2B5EF4-FFF2-40B4-BE49-F238E27FC236}">
                    <a16:creationId xmlns:a16="http://schemas.microsoft.com/office/drawing/2014/main" id="{20BA8815-E88B-4751-9BD0-350968B440C6}"/>
                  </a:ext>
                </a:extLst>
              </p:cNvPr>
              <p:cNvSpPr txBox="1"/>
              <p:nvPr/>
            </p:nvSpPr>
            <p:spPr>
              <a:xfrm>
                <a:off x="1315548" y="2906254"/>
                <a:ext cx="1820333" cy="1588571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marR="0" lvl="0" indent="0" algn="ctr" defTabSz="235585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Poppins" panose="02000000000000000000" pitchFamily="2" charset="0"/>
                    <a:cs typeface="Poppins" panose="02000000000000000000" pitchFamily="2" charset="0"/>
                  </a:rPr>
                  <a:t>Servicing Cost</a:t>
                </a:r>
              </a:p>
            </p:txBody>
          </p:sp>
        </p:grp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F505BBD9-0383-4ACB-A871-E458EA3A187A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94821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82C4C85-4B29-4605-895B-57108A9D7EC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A6449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08" tIns="22853" rIns="45708" bIns="22853"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A12272-BA2C-4FDE-A5F0-54717FCB6FCD}"/>
              </a:ext>
            </a:extLst>
          </p:cNvPr>
          <p:cNvSpPr txBox="1"/>
          <p:nvPr/>
        </p:nvSpPr>
        <p:spPr>
          <a:xfrm>
            <a:off x="0" y="2039171"/>
            <a:ext cx="12192000" cy="2608217"/>
          </a:xfrm>
          <a:prstGeom prst="rect">
            <a:avLst/>
          </a:prstGeom>
          <a:noFill/>
        </p:spPr>
        <p:txBody>
          <a:bodyPr wrap="square" lIns="45708" tIns="22853" rIns="45708" bIns="22853" rtlCol="0" anchor="ctr">
            <a:noAutofit/>
          </a:bodyPr>
          <a:lstStyle/>
          <a:p>
            <a:pPr algn="ctr"/>
            <a:r>
              <a:rPr lang="en-US" sz="9600" b="1" spc="500" dirty="0">
                <a:solidFill>
                  <a:schemeClr val="bg1"/>
                </a:solidFill>
                <a:latin typeface="Montserrat" pitchFamily="2" charset="77"/>
                <a:ea typeface="Montserrat" charset="0"/>
                <a:cs typeface="Poppins SemiBold" panose="02000000000000000000" pitchFamily="2" charset="0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63098764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A8CC22-E8D7-4BD6-9749-E5C1E5CB08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765" y="0"/>
            <a:ext cx="7445478" cy="1600201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3FA3CD-FC4E-410F-84AC-65041E586E07}"/>
              </a:ext>
            </a:extLst>
          </p:cNvPr>
          <p:cNvSpPr txBox="1"/>
          <p:nvPr/>
        </p:nvSpPr>
        <p:spPr>
          <a:xfrm>
            <a:off x="177765" y="2233863"/>
            <a:ext cx="5963171" cy="31393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r>
              <a:rPr lang="en-US" sz="2800" dirty="0"/>
              <a:t>Contact Info:</a:t>
            </a:r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Taylor St. Eve</a:t>
            </a:r>
          </a:p>
          <a:p>
            <a:r>
              <a:rPr lang="en-US" sz="2800" dirty="0">
                <a:hlinkClick r:id="rId3"/>
              </a:rPr>
              <a:t>Taylor.St.Eve@Commercebank.com</a:t>
            </a:r>
            <a:endParaRPr lang="en-US" sz="2800" dirty="0"/>
          </a:p>
          <a:p>
            <a:r>
              <a:rPr lang="en-US" sz="2800" dirty="0"/>
              <a:t>314-746-7440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2EAAF2-89B7-410A-ADB4-0411DCD6A5A8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291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D099FF76-F2CE-42C1-8ED7-B5C4D89F7A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0186" y="914400"/>
            <a:ext cx="5351628" cy="5351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Placeholder 11">
            <a:extLst>
              <a:ext uri="{FF2B5EF4-FFF2-40B4-BE49-F238E27FC236}">
                <a16:creationId xmlns:a16="http://schemas.microsoft.com/office/drawing/2014/main" id="{BDAA8C53-538D-4F16-8F1C-34227A1199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07006" y="1555845"/>
            <a:ext cx="3060511" cy="278755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8173971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3C69DFF-A452-4ED3-B464-F78F89EA1C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pc="-40" dirty="0"/>
              <a:t>Commerce Bank is </a:t>
            </a:r>
            <a:r>
              <a:rPr lang="en-US" spc="-40" dirty="0">
                <a:latin typeface="Poppins Medium" panose="02000000000000000000" pitchFamily="2" charset="0"/>
                <a:cs typeface="Poppins Medium" panose="02000000000000000000" pitchFamily="2" charset="0"/>
              </a:rPr>
              <a:t>CommerceHealthcare</a:t>
            </a:r>
            <a:r>
              <a:rPr lang="en-US" sz="2000" spc="-40" baseline="90000" dirty="0">
                <a:latin typeface="Poppins Medium" panose="02000000000000000000" pitchFamily="2" charset="0"/>
                <a:cs typeface="Poppins Medium" panose="02000000000000000000" pitchFamily="2" charset="0"/>
              </a:rPr>
              <a:t>®</a:t>
            </a:r>
            <a:endParaRPr lang="en-US" spc="-40" baseline="90000" dirty="0">
              <a:latin typeface="Poppins Medium" panose="02000000000000000000" pitchFamily="2" charset="0"/>
              <a:cs typeface="Poppins Medium" panose="02000000000000000000" pitchFamily="2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EEC3E40-DBD4-40C0-897D-9C7367293EAF}"/>
              </a:ext>
            </a:extLst>
          </p:cNvPr>
          <p:cNvGrpSpPr/>
          <p:nvPr/>
        </p:nvGrpSpPr>
        <p:grpSpPr>
          <a:xfrm>
            <a:off x="472443" y="1106522"/>
            <a:ext cx="11081495" cy="502766"/>
            <a:chOff x="457200" y="1292864"/>
            <a:chExt cx="10915862" cy="502766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EE3BC5B-F74B-42BC-BB8B-DC70D4D65038}"/>
                </a:ext>
              </a:extLst>
            </p:cNvPr>
            <p:cNvSpPr/>
            <p:nvPr/>
          </p:nvSpPr>
          <p:spPr>
            <a:xfrm>
              <a:off x="817827" y="1292864"/>
              <a:ext cx="10555235" cy="502766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defTabSz="914309">
                <a:defRPr/>
              </a:pPr>
              <a:r>
                <a:rPr lang="en-US" sz="2667" dirty="0">
                  <a:solidFill>
                    <a:srgbClr val="53555C"/>
                  </a:solidFill>
                  <a:latin typeface="Poppins"/>
                  <a:cs typeface="Poppins SemiBold" panose="02000000000000000000" pitchFamily="2" charset="0"/>
                </a:rPr>
                <a:t>We don’t just serve the healthcare industry. </a:t>
              </a:r>
              <a:r>
                <a:rPr lang="en-US" sz="2667" dirty="0">
                  <a:solidFill>
                    <a:srgbClr val="00B5E2"/>
                  </a:solidFill>
                  <a:latin typeface="Poppins SemiBold" panose="02000000000000000000" pitchFamily="2" charset="0"/>
                  <a:cs typeface="Poppins SemiBold" panose="02000000000000000000" pitchFamily="2" charset="0"/>
                </a:rPr>
                <a:t>It’s our specialty. </a:t>
              </a:r>
            </a:p>
          </p:txBody>
        </p:sp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id="{131740E6-2C90-498B-A758-0FE915CA5F45}"/>
                </a:ext>
              </a:extLst>
            </p:cNvPr>
            <p:cNvSpPr/>
            <p:nvPr/>
          </p:nvSpPr>
          <p:spPr>
            <a:xfrm>
              <a:off x="457200" y="1355610"/>
              <a:ext cx="215077" cy="258092"/>
            </a:xfrm>
            <a:prstGeom prst="chevron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309">
                <a:defRPr/>
              </a:pPr>
              <a:endParaRPr lang="en-US" kern="0" dirty="0">
                <a:solidFill>
                  <a:srgbClr val="53555C"/>
                </a:solidFill>
                <a:latin typeface="Poppins"/>
              </a:endParaRPr>
            </a:p>
          </p:txBody>
        </p:sp>
      </p:grpSp>
      <p:pic>
        <p:nvPicPr>
          <p:cNvPr id="37" name="Picture 36" descr="Map&#10;&#10;Description automatically generated">
            <a:extLst>
              <a:ext uri="{FF2B5EF4-FFF2-40B4-BE49-F238E27FC236}">
                <a16:creationId xmlns:a16="http://schemas.microsoft.com/office/drawing/2014/main" id="{EAC05911-1946-41A5-BFAF-FC26A0618E1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2552" y="1669123"/>
            <a:ext cx="3950909" cy="2435120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BB085B18-9A2B-4E1D-B530-9661D5259F3F}"/>
              </a:ext>
            </a:extLst>
          </p:cNvPr>
          <p:cNvSpPr/>
          <p:nvPr/>
        </p:nvSpPr>
        <p:spPr>
          <a:xfrm>
            <a:off x="6090220" y="1709101"/>
            <a:ext cx="47677" cy="22585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dirty="0">
              <a:solidFill>
                <a:srgbClr val="FFFFFF"/>
              </a:solidFill>
              <a:latin typeface="Poppin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C72ABD7-17A1-426B-926F-964BFEC1ADA1}"/>
              </a:ext>
            </a:extLst>
          </p:cNvPr>
          <p:cNvCxnSpPr>
            <a:cxnSpLocks/>
          </p:cNvCxnSpPr>
          <p:nvPr/>
        </p:nvCxnSpPr>
        <p:spPr>
          <a:xfrm>
            <a:off x="5496464" y="2838380"/>
            <a:ext cx="629865" cy="0"/>
          </a:xfrm>
          <a:prstGeom prst="line">
            <a:avLst/>
          </a:prstGeom>
          <a:ln w="25400" cap="rnd">
            <a:solidFill>
              <a:schemeClr val="accent3"/>
            </a:solidFill>
            <a:prstDash val="sysDot"/>
            <a:round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E27D3F3-1492-4F25-B7DA-5D45FC77655B}"/>
              </a:ext>
            </a:extLst>
          </p:cNvPr>
          <p:cNvSpPr txBox="1">
            <a:spLocks/>
          </p:cNvSpPr>
          <p:nvPr/>
        </p:nvSpPr>
        <p:spPr>
          <a:xfrm>
            <a:off x="6126324" y="1709100"/>
            <a:ext cx="4663440" cy="685800"/>
          </a:xfrm>
          <a:prstGeom prst="rect">
            <a:avLst/>
          </a:prstGeom>
          <a:solidFill>
            <a:schemeClr val="accent5">
              <a:lumMod val="20000"/>
              <a:lumOff val="80000"/>
              <a:alpha val="60000"/>
            </a:schemeClr>
          </a:solidFill>
          <a:ln w="15875">
            <a:noFill/>
            <a:prstDash val="solid"/>
          </a:ln>
        </p:spPr>
        <p:txBody>
          <a:bodyPr lIns="91440" tIns="109728" bIns="13716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6845" indent="0" defTabSz="914309">
              <a:lnSpc>
                <a:spcPts val="2000"/>
              </a:lnSpc>
              <a:buNone/>
              <a:defRPr/>
            </a:pPr>
            <a:r>
              <a:rPr lang="en-US" sz="1600" spc="-51" dirty="0">
                <a:latin typeface="Poppins Light" panose="02000000000000000000" pitchFamily="2" charset="0"/>
                <a:cs typeface="Poppins Light" panose="02000000000000000000" pitchFamily="2" charset="0"/>
              </a:rPr>
              <a:t>Partner to </a:t>
            </a:r>
            <a:r>
              <a:rPr lang="en-US" sz="1600" spc="-51" dirty="0">
                <a:latin typeface="Poppins Medium" panose="02000000000000000000" pitchFamily="2" charset="0"/>
                <a:cs typeface="Poppins Medium" panose="02000000000000000000" pitchFamily="2" charset="0"/>
              </a:rPr>
              <a:t>3,000</a:t>
            </a:r>
            <a:r>
              <a:rPr lang="en-US" sz="1600" spc="-51" baseline="30000" dirty="0">
                <a:latin typeface="Poppins Medium" panose="02000000000000000000" pitchFamily="2" charset="0"/>
                <a:cs typeface="Poppins Medium" panose="02000000000000000000" pitchFamily="2" charset="0"/>
              </a:rPr>
              <a:t>+</a:t>
            </a:r>
            <a:r>
              <a:rPr lang="en-US" sz="1600" spc="-51" dirty="0">
                <a:latin typeface="Poppins Medium" panose="02000000000000000000" pitchFamily="2" charset="0"/>
                <a:cs typeface="Poppins Medium" panose="02000000000000000000" pitchFamily="2" charset="0"/>
              </a:rPr>
              <a:t> healthcare providers </a:t>
            </a:r>
            <a:r>
              <a:rPr lang="en-US" sz="1600" spc="-51" dirty="0">
                <a:latin typeface="Poppins Light" panose="02000000000000000000" pitchFamily="2" charset="0"/>
                <a:cs typeface="Poppins Light" panose="02000000000000000000" pitchFamily="2" charset="0"/>
              </a:rPr>
              <a:t>and </a:t>
            </a:r>
            <a:r>
              <a:rPr lang="en-US" sz="1600" spc="-51" dirty="0">
                <a:latin typeface="Poppins Medium" panose="02000000000000000000" pitchFamily="2" charset="0"/>
                <a:cs typeface="Poppins Medium" panose="02000000000000000000" pitchFamily="2" charset="0"/>
              </a:rPr>
              <a:t>500+ hospitals </a:t>
            </a:r>
            <a:r>
              <a:rPr lang="en-US" sz="1600" spc="-51" dirty="0">
                <a:latin typeface="Poppins Light" panose="02000000000000000000" pitchFamily="2" charset="0"/>
                <a:cs typeface="Poppins Light" panose="02000000000000000000" pitchFamily="2" charset="0"/>
              </a:rPr>
              <a:t>in </a:t>
            </a:r>
            <a:r>
              <a:rPr lang="en-US" sz="1600" spc="-51" dirty="0">
                <a:latin typeface="Poppins Medium" panose="02000000000000000000" pitchFamily="2" charset="0"/>
                <a:cs typeface="Poppins Medium" panose="02000000000000000000" pitchFamily="2" charset="0"/>
              </a:rPr>
              <a:t>47 states</a:t>
            </a:r>
            <a:endParaRPr lang="en-US" sz="1600" spc="-51" dirty="0">
              <a:latin typeface="Poppins Light" panose="02000000000000000000" pitchFamily="2" charset="0"/>
              <a:cs typeface="Poppins Light" panose="02000000000000000000" pitchFamily="2" charset="0"/>
            </a:endParaRPr>
          </a:p>
        </p:txBody>
      </p:sp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27599D09-045F-4810-9D5D-BE21C10CC7C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051" y="1635963"/>
            <a:ext cx="822960" cy="822960"/>
          </a:xfrm>
          <a:prstGeom prst="rect">
            <a:avLst/>
          </a:prstGeom>
        </p:spPr>
      </p:pic>
      <p:sp>
        <p:nvSpPr>
          <p:cNvPr id="60" name="Content Placeholder 2">
            <a:extLst>
              <a:ext uri="{FF2B5EF4-FFF2-40B4-BE49-F238E27FC236}">
                <a16:creationId xmlns:a16="http://schemas.microsoft.com/office/drawing/2014/main" id="{1E49134B-89F2-4E21-8BAA-60E35A2A7779}"/>
              </a:ext>
            </a:extLst>
          </p:cNvPr>
          <p:cNvSpPr txBox="1">
            <a:spLocks/>
          </p:cNvSpPr>
          <p:nvPr/>
        </p:nvSpPr>
        <p:spPr>
          <a:xfrm>
            <a:off x="6135939" y="2495484"/>
            <a:ext cx="4663440" cy="685800"/>
          </a:xfrm>
          <a:prstGeom prst="rect">
            <a:avLst/>
          </a:prstGeom>
          <a:solidFill>
            <a:schemeClr val="accent5">
              <a:lumMod val="20000"/>
              <a:lumOff val="80000"/>
              <a:alpha val="60000"/>
            </a:schemeClr>
          </a:solidFill>
          <a:ln w="15875">
            <a:noFill/>
            <a:prstDash val="solid"/>
          </a:ln>
        </p:spPr>
        <p:txBody>
          <a:bodyPr lIns="91440" tIns="109728" bIns="13716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6845" indent="0" defTabSz="914309">
              <a:lnSpc>
                <a:spcPts val="2000"/>
              </a:lnSpc>
              <a:buNone/>
              <a:defRPr/>
            </a:pPr>
            <a:r>
              <a:rPr lang="en-US" sz="1600" dirty="0">
                <a:latin typeface="Poppins Medium" panose="02000000000000000000" pitchFamily="2" charset="0"/>
                <a:cs typeface="Poppins Medium" panose="02000000000000000000" pitchFamily="2" charset="0"/>
              </a:rPr>
              <a:t>100+ entities </a:t>
            </a:r>
            <a:r>
              <a:rPr lang="en-US" sz="1600" dirty="0">
                <a:latin typeface="Poppins Light" panose="02000000000000000000" pitchFamily="2" charset="0"/>
                <a:cs typeface="Poppins Light" panose="02000000000000000000" pitchFamily="2" charset="0"/>
              </a:rPr>
              <a:t>and </a:t>
            </a:r>
            <a:r>
              <a:rPr lang="en-US" sz="1600" dirty="0">
                <a:latin typeface="Poppins Medium" panose="02000000000000000000" pitchFamily="2" charset="0"/>
                <a:cs typeface="Poppins Medium" panose="02000000000000000000" pitchFamily="2" charset="0"/>
              </a:rPr>
              <a:t>over 42MM </a:t>
            </a:r>
            <a:r>
              <a:rPr lang="en-US" sz="1600" dirty="0">
                <a:latin typeface="Poppins Light" panose="02000000000000000000" pitchFamily="2" charset="0"/>
                <a:cs typeface="Poppins Light" panose="02000000000000000000" pitchFamily="2" charset="0"/>
              </a:rPr>
              <a:t>in patient transactions </a:t>
            </a:r>
            <a:r>
              <a:rPr lang="en-US" sz="1600" dirty="0">
                <a:latin typeface="Poppins Medium" panose="02000000000000000000" pitchFamily="2" charset="0"/>
                <a:cs typeface="Poppins Medium" panose="02000000000000000000" pitchFamily="2" charset="0"/>
              </a:rPr>
              <a:t>annually</a:t>
            </a:r>
            <a:r>
              <a:rPr lang="en-US" sz="1600" dirty="0">
                <a:latin typeface="Poppins Light" panose="02000000000000000000" pitchFamily="2" charset="0"/>
                <a:cs typeface="Poppins Light" panose="02000000000000000000" pitchFamily="2" charset="0"/>
              </a:rPr>
              <a:t> </a:t>
            </a:r>
            <a:endParaRPr lang="en-US" sz="1600" dirty="0">
              <a:latin typeface="Poppins Medium" panose="02000000000000000000" pitchFamily="2" charset="0"/>
              <a:cs typeface="Poppins Medium" panose="02000000000000000000" pitchFamily="2" charset="0"/>
            </a:endParaRPr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6B94C7F4-5C13-4D83-981F-BB41CE181A0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1611" y="2333711"/>
            <a:ext cx="1005840" cy="100584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6AF833EC-4805-4115-80E6-DB22AFF9C7BB}"/>
              </a:ext>
            </a:extLst>
          </p:cNvPr>
          <p:cNvSpPr/>
          <p:nvPr/>
        </p:nvSpPr>
        <p:spPr>
          <a:xfrm>
            <a:off x="609600" y="4331492"/>
            <a:ext cx="1341120" cy="1737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768" tIns="228600" rIns="48768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50">
              <a:lnSpc>
                <a:spcPts val="2500"/>
              </a:lnSpc>
              <a:defRPr/>
            </a:pPr>
            <a:r>
              <a:rPr lang="en-US" sz="28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TOP 5</a:t>
            </a:r>
          </a:p>
          <a:p>
            <a:pPr algn="ctr" defTabSz="1219050">
              <a:defRPr/>
            </a:pPr>
            <a:r>
              <a:rPr lang="en-US" sz="1200" spc="-40" dirty="0">
                <a:solidFill>
                  <a:srgbClr val="FFFFFF"/>
                </a:solidFill>
                <a:latin typeface="Poppins"/>
              </a:rPr>
              <a:t>Moody’s national rank with a baseline credit assessment of </a:t>
            </a:r>
            <a:r>
              <a:rPr lang="en-US" sz="1200" spc="-40" dirty="0">
                <a:solidFill>
                  <a:srgbClr val="FFFFFF"/>
                </a:solidFill>
                <a:latin typeface="Poppins Medium" panose="02000000000000000000" pitchFamily="2" charset="0"/>
                <a:cs typeface="Poppins Medium" panose="02000000000000000000" pitchFamily="2" charset="0"/>
              </a:rPr>
              <a:t>a1</a:t>
            </a:r>
            <a:r>
              <a:rPr lang="en-US" sz="1200" spc="-40" baseline="30000" dirty="0">
                <a:solidFill>
                  <a:srgbClr val="FFFFFF"/>
                </a:solidFill>
                <a:latin typeface="Poppins"/>
              </a:rPr>
              <a:t>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EF21274-2F5C-4F68-899F-C728E8166F12}"/>
              </a:ext>
            </a:extLst>
          </p:cNvPr>
          <p:cNvSpPr/>
          <p:nvPr/>
        </p:nvSpPr>
        <p:spPr>
          <a:xfrm>
            <a:off x="1985555" y="4331492"/>
            <a:ext cx="1341120" cy="1737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286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50">
              <a:lnSpc>
                <a:spcPts val="2500"/>
              </a:lnSpc>
              <a:defRPr/>
            </a:pPr>
            <a:r>
              <a:rPr lang="en-US" sz="28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7</a:t>
            </a:r>
            <a:r>
              <a:rPr lang="en-US" sz="2800" u="sng" baseline="300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th</a:t>
            </a:r>
          </a:p>
          <a:p>
            <a:pPr algn="ctr" defTabSz="1219050"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Largest Purchasing </a:t>
            </a:r>
          </a:p>
          <a:p>
            <a:pPr algn="ctr" defTabSz="1219050"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Card Issuer</a:t>
            </a:r>
            <a:r>
              <a:rPr lang="en-US" sz="1200" baseline="30000" dirty="0">
                <a:solidFill>
                  <a:srgbClr val="FFFFFF"/>
                </a:solidFill>
                <a:latin typeface="Poppins"/>
              </a:rPr>
              <a:t>2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05422CA-2131-4AE8-85F9-52C58E4E3DDD}"/>
              </a:ext>
            </a:extLst>
          </p:cNvPr>
          <p:cNvSpPr/>
          <p:nvPr/>
        </p:nvSpPr>
        <p:spPr>
          <a:xfrm>
            <a:off x="3361509" y="4331492"/>
            <a:ext cx="1341120" cy="1737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2860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50">
              <a:lnSpc>
                <a:spcPts val="2500"/>
              </a:lnSpc>
              <a:defRPr/>
            </a:pPr>
            <a:r>
              <a:rPr lang="en-US" sz="28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$34.5</a:t>
            </a:r>
          </a:p>
          <a:p>
            <a:pPr algn="ctr" defTabSz="1219050">
              <a:spcAft>
                <a:spcPts val="1800"/>
              </a:spcAft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Billion in   Assets</a:t>
            </a:r>
          </a:p>
          <a:p>
            <a:pPr algn="ctr" defTabSz="1219050">
              <a:lnSpc>
                <a:spcPts val="1000"/>
              </a:lnSpc>
              <a:defRPr/>
            </a:pPr>
            <a:r>
              <a:rPr lang="en-US" sz="20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42</a:t>
            </a:r>
            <a:r>
              <a:rPr lang="en-US" sz="2000" u="sng" baseline="300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nd</a:t>
            </a:r>
          </a:p>
          <a:p>
            <a:pPr algn="ctr" defTabSz="1219050">
              <a:lnSpc>
                <a:spcPts val="1300"/>
              </a:lnSpc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Largest U.S. Bank</a:t>
            </a:r>
            <a:r>
              <a:rPr lang="en-US" sz="1200" baseline="30000" dirty="0">
                <a:solidFill>
                  <a:srgbClr val="FFFFFF"/>
                </a:solidFill>
                <a:latin typeface="Poppins"/>
              </a:rPr>
              <a:t>3</a:t>
            </a:r>
            <a:endParaRPr lang="en-US" sz="1200" dirty="0">
              <a:solidFill>
                <a:srgbClr val="FFFFFF"/>
              </a:solidFill>
              <a:latin typeface="Poppin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E61D94E-5C35-494D-858D-2C2876525F53}"/>
              </a:ext>
            </a:extLst>
          </p:cNvPr>
          <p:cNvSpPr/>
          <p:nvPr/>
        </p:nvSpPr>
        <p:spPr>
          <a:xfrm>
            <a:off x="4737464" y="4331492"/>
            <a:ext cx="1341120" cy="1737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286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50">
              <a:lnSpc>
                <a:spcPts val="2500"/>
              </a:lnSpc>
              <a:defRPr/>
            </a:pPr>
            <a:r>
              <a:rPr lang="en-US" sz="28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$8.7</a:t>
            </a:r>
          </a:p>
          <a:p>
            <a:pPr algn="ctr" defTabSz="1219050">
              <a:spcAft>
                <a:spcPts val="1800"/>
              </a:spcAft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Billion Market Cap</a:t>
            </a:r>
          </a:p>
          <a:p>
            <a:pPr algn="ctr" defTabSz="1219050">
              <a:lnSpc>
                <a:spcPts val="1000"/>
              </a:lnSpc>
              <a:defRPr/>
            </a:pPr>
            <a:r>
              <a:rPr lang="en-US" sz="20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21</a:t>
            </a:r>
            <a:r>
              <a:rPr lang="en-US" sz="2000" u="sng" baseline="300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st</a:t>
            </a:r>
          </a:p>
          <a:p>
            <a:pPr algn="ctr" defTabSz="1219050">
              <a:lnSpc>
                <a:spcPts val="1300"/>
              </a:lnSpc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Among U.S. Banks</a:t>
            </a:r>
            <a:r>
              <a:rPr lang="en-US" sz="1200" baseline="30000" dirty="0">
                <a:solidFill>
                  <a:srgbClr val="FFFFFF"/>
                </a:solidFill>
                <a:latin typeface="Poppins"/>
              </a:rPr>
              <a:t>3</a:t>
            </a:r>
            <a:endParaRPr lang="en-US" sz="1200" dirty="0">
              <a:solidFill>
                <a:srgbClr val="FFFFFF"/>
              </a:solidFill>
              <a:latin typeface="Poppin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5782B32-0A4B-4150-AF24-AF9DA00B139B}"/>
              </a:ext>
            </a:extLst>
          </p:cNvPr>
          <p:cNvSpPr/>
          <p:nvPr/>
        </p:nvSpPr>
        <p:spPr>
          <a:xfrm>
            <a:off x="6113419" y="4331492"/>
            <a:ext cx="1341120" cy="1737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286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50">
              <a:lnSpc>
                <a:spcPts val="2500"/>
              </a:lnSpc>
              <a:defRPr/>
            </a:pPr>
            <a:r>
              <a:rPr lang="en-US" sz="28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$66.8</a:t>
            </a:r>
          </a:p>
          <a:p>
            <a:pPr algn="ctr" defTabSz="1219050">
              <a:spcAft>
                <a:spcPts val="1800"/>
              </a:spcAft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Billion in Total Trust Assets</a:t>
            </a:r>
          </a:p>
          <a:p>
            <a:pPr algn="ctr" defTabSz="1219050">
              <a:lnSpc>
                <a:spcPts val="1000"/>
              </a:lnSpc>
              <a:defRPr/>
            </a:pPr>
            <a:r>
              <a:rPr lang="en-US" sz="20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18</a:t>
            </a:r>
            <a:r>
              <a:rPr lang="en-US" sz="2000" u="sng" baseline="300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th</a:t>
            </a:r>
          </a:p>
          <a:p>
            <a:pPr algn="ctr" defTabSz="1219050">
              <a:lnSpc>
                <a:spcPts val="1300"/>
              </a:lnSpc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Among U.S. Banks</a:t>
            </a:r>
            <a:r>
              <a:rPr lang="en-US" sz="1200" baseline="30000" dirty="0">
                <a:solidFill>
                  <a:srgbClr val="FFFFFF"/>
                </a:solidFill>
                <a:latin typeface="Poppins"/>
              </a:rPr>
              <a:t>3</a:t>
            </a:r>
            <a:endParaRPr lang="en-US" sz="1200" dirty="0">
              <a:solidFill>
                <a:srgbClr val="FFFFFF"/>
              </a:solidFill>
              <a:latin typeface="Poppins"/>
            </a:endParaRPr>
          </a:p>
          <a:p>
            <a:pPr algn="ctr" defTabSz="1219050">
              <a:spcAft>
                <a:spcPts val="1800"/>
              </a:spcAft>
              <a:defRPr/>
            </a:pPr>
            <a:endParaRPr lang="en-US" sz="1200" dirty="0">
              <a:solidFill>
                <a:srgbClr val="FFFFFF"/>
              </a:solidFill>
              <a:latin typeface="Poppin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23BFB2A-00D2-45D2-9873-0E61B8362711}"/>
              </a:ext>
            </a:extLst>
          </p:cNvPr>
          <p:cNvSpPr/>
          <p:nvPr/>
        </p:nvSpPr>
        <p:spPr>
          <a:xfrm>
            <a:off x="7489373" y="4331492"/>
            <a:ext cx="1341120" cy="1737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228600" rIns="9144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50">
              <a:lnSpc>
                <a:spcPts val="2500"/>
              </a:lnSpc>
              <a:defRPr/>
            </a:pPr>
            <a:r>
              <a:rPr lang="en-US" sz="28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15.1%</a:t>
            </a:r>
          </a:p>
          <a:p>
            <a:pPr algn="ctr" defTabSz="1219050"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10 Year Annualized </a:t>
            </a:r>
          </a:p>
          <a:p>
            <a:pPr algn="ctr" defTabSz="1219050"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Shareholder Returns</a:t>
            </a:r>
            <a:r>
              <a:rPr lang="en-US" sz="1200" baseline="30000" dirty="0">
                <a:solidFill>
                  <a:srgbClr val="FFFFFF"/>
                </a:solidFill>
                <a:latin typeface="Poppins"/>
              </a:rPr>
              <a:t>5</a:t>
            </a:r>
            <a:r>
              <a:rPr lang="en-US" sz="1200" dirty="0">
                <a:solidFill>
                  <a:srgbClr val="FFFFFF"/>
                </a:solidFill>
                <a:latin typeface="Poppins"/>
              </a:rPr>
              <a:t>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ED88076-879D-44D3-AABD-0340D26C410B}"/>
              </a:ext>
            </a:extLst>
          </p:cNvPr>
          <p:cNvSpPr/>
          <p:nvPr/>
        </p:nvSpPr>
        <p:spPr>
          <a:xfrm>
            <a:off x="8865328" y="4331492"/>
            <a:ext cx="1341120" cy="1737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286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50">
              <a:lnSpc>
                <a:spcPts val="2500"/>
              </a:lnSpc>
              <a:defRPr/>
            </a:pPr>
            <a:r>
              <a:rPr lang="en-US" sz="28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$8.5</a:t>
            </a:r>
          </a:p>
          <a:p>
            <a:pPr algn="ctr" defTabSz="1219050"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Billion Commercial Card volume</a:t>
            </a:r>
            <a:r>
              <a:rPr lang="en-US" sz="1200" baseline="30000" dirty="0">
                <a:solidFill>
                  <a:srgbClr val="FFFFFF"/>
                </a:solidFill>
                <a:latin typeface="Poppins"/>
              </a:rPr>
              <a:t>4</a:t>
            </a:r>
            <a:endParaRPr lang="en-US" sz="1200" dirty="0">
              <a:solidFill>
                <a:srgbClr val="FFFFFF"/>
              </a:solidFill>
              <a:latin typeface="Poppin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4CE55CD-91F3-44E3-801F-329811EF1C0D}"/>
              </a:ext>
            </a:extLst>
          </p:cNvPr>
          <p:cNvSpPr/>
          <p:nvPr/>
        </p:nvSpPr>
        <p:spPr>
          <a:xfrm>
            <a:off x="10241280" y="4331492"/>
            <a:ext cx="1341120" cy="17373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286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1219050">
              <a:lnSpc>
                <a:spcPts val="2500"/>
              </a:lnSpc>
              <a:defRPr/>
            </a:pPr>
            <a:r>
              <a:rPr lang="en-US" sz="28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$5B</a:t>
            </a:r>
            <a:r>
              <a:rPr lang="en-US" sz="2800" baseline="30000" dirty="0">
                <a:solidFill>
                  <a:srgbClr val="FFFFFF"/>
                </a:solidFill>
                <a:latin typeface="Poppins SemiBold" panose="02000000000000000000" pitchFamily="2" charset="0"/>
                <a:cs typeface="Poppins SemiBold" panose="02000000000000000000" pitchFamily="2" charset="0"/>
              </a:rPr>
              <a:t>+</a:t>
            </a:r>
          </a:p>
          <a:p>
            <a:pPr algn="ctr" defTabSz="1219050">
              <a:defRPr/>
            </a:pPr>
            <a:r>
              <a:rPr lang="en-US" sz="1200" dirty="0">
                <a:solidFill>
                  <a:srgbClr val="FFFFFF"/>
                </a:solidFill>
                <a:latin typeface="Poppins"/>
              </a:rPr>
              <a:t>In Investments for Healthcare</a:t>
            </a:r>
            <a:r>
              <a:rPr lang="en-US" sz="1200" baseline="30000" dirty="0">
                <a:solidFill>
                  <a:srgbClr val="FFFFFF"/>
                </a:solidFill>
                <a:latin typeface="Poppins"/>
              </a:rPr>
              <a:t>6</a:t>
            </a:r>
            <a:endParaRPr lang="en-US" sz="1400" baseline="30000" dirty="0">
              <a:solidFill>
                <a:srgbClr val="FFFFFF"/>
              </a:solidFill>
              <a:latin typeface="Poppins SemiBold" panose="02000000000000000000" pitchFamily="2" charset="0"/>
              <a:cs typeface="Poppins SemiBold" panose="02000000000000000000" pitchFamily="2" charset="0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ADDBDAE4-B136-49C6-BC2E-A2EBB32E2349}"/>
              </a:ext>
            </a:extLst>
          </p:cNvPr>
          <p:cNvCxnSpPr>
            <a:cxnSpLocks/>
          </p:cNvCxnSpPr>
          <p:nvPr/>
        </p:nvCxnSpPr>
        <p:spPr>
          <a:xfrm>
            <a:off x="609600" y="4267995"/>
            <a:ext cx="10972800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2611BD9E-FD67-45A1-BB97-318A2874A4B0}"/>
              </a:ext>
            </a:extLst>
          </p:cNvPr>
          <p:cNvSpPr txBox="1"/>
          <p:nvPr/>
        </p:nvSpPr>
        <p:spPr>
          <a:xfrm>
            <a:off x="668119" y="6148064"/>
            <a:ext cx="8445736" cy="6104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1625358">
              <a:lnSpc>
                <a:spcPts val="707"/>
              </a:lnSpc>
              <a:tabLst>
                <a:tab pos="98768" algn="l"/>
              </a:tabLst>
              <a:defRPr/>
            </a:pPr>
            <a:r>
              <a:rPr lang="en-US" sz="667" dirty="0">
                <a:solidFill>
                  <a:srgbClr val="979EA1"/>
                </a:solidFill>
                <a:latin typeface="Poppins Light" panose="02000000000000000000" pitchFamily="2" charset="0"/>
              </a:rPr>
              <a:t>As of September 30, 2021, unless otherwise noted.</a:t>
            </a:r>
          </a:p>
          <a:p>
            <a:pPr defTabSz="1625358">
              <a:lnSpc>
                <a:spcPts val="707"/>
              </a:lnSpc>
              <a:tabLst>
                <a:tab pos="78311" algn="l"/>
              </a:tabLst>
              <a:defRPr/>
            </a:pPr>
            <a:r>
              <a:rPr lang="en-US" sz="667" baseline="30000" dirty="0">
                <a:solidFill>
                  <a:srgbClr val="979EA1"/>
                </a:solidFill>
                <a:latin typeface="Poppins Light" panose="02000000000000000000" pitchFamily="2" charset="0"/>
              </a:rPr>
              <a:t>1	</a:t>
            </a:r>
            <a:r>
              <a:rPr lang="en-US" sz="667" dirty="0">
                <a:solidFill>
                  <a:srgbClr val="979EA1"/>
                </a:solidFill>
                <a:latin typeface="Poppins Light" panose="02000000000000000000" pitchFamily="2" charset="0"/>
              </a:rPr>
              <a:t>Moody’s US Bank Ratings, August 19, 2021.</a:t>
            </a:r>
          </a:p>
          <a:p>
            <a:pPr defTabSz="1625358">
              <a:lnSpc>
                <a:spcPts val="707"/>
              </a:lnSpc>
              <a:tabLst>
                <a:tab pos="78311" algn="l"/>
              </a:tabLst>
              <a:defRPr/>
            </a:pPr>
            <a:r>
              <a:rPr lang="en-US" sz="667" baseline="30000" dirty="0">
                <a:solidFill>
                  <a:srgbClr val="979EA1"/>
                </a:solidFill>
                <a:latin typeface="Poppins Light" panose="02000000000000000000" pitchFamily="2" charset="0"/>
              </a:rPr>
              <a:t>2	</a:t>
            </a:r>
            <a:r>
              <a:rPr lang="en-US" sz="667" dirty="0">
                <a:solidFill>
                  <a:srgbClr val="979EA1"/>
                </a:solidFill>
                <a:latin typeface="Poppins Light" panose="02000000000000000000" pitchFamily="2" charset="0"/>
              </a:rPr>
              <a:t>Amongst top 50 U.S. Banks based on 12/31/2019 assets. Source: Nilson, May 2020.</a:t>
            </a:r>
            <a:endParaRPr lang="en-US" sz="667" baseline="30000" dirty="0">
              <a:solidFill>
                <a:srgbClr val="979EA1"/>
              </a:solidFill>
              <a:latin typeface="Poppins Light" panose="02000000000000000000" pitchFamily="2" charset="0"/>
            </a:endParaRPr>
          </a:p>
          <a:p>
            <a:pPr defTabSz="1625358">
              <a:lnSpc>
                <a:spcPts val="707"/>
              </a:lnSpc>
              <a:tabLst>
                <a:tab pos="78311" algn="l"/>
              </a:tabLst>
              <a:defRPr/>
            </a:pPr>
            <a:r>
              <a:rPr lang="en-US" sz="667" baseline="30000" dirty="0">
                <a:solidFill>
                  <a:srgbClr val="979EA1"/>
                </a:solidFill>
                <a:latin typeface="Poppins Light" panose="02000000000000000000" pitchFamily="2" charset="0"/>
              </a:rPr>
              <a:t>3	</a:t>
            </a:r>
            <a:r>
              <a:rPr lang="en-US" sz="667" dirty="0">
                <a:solidFill>
                  <a:srgbClr val="979EA1"/>
                </a:solidFill>
                <a:latin typeface="Poppins Light" panose="02000000000000000000" pitchFamily="2" charset="0"/>
              </a:rPr>
              <a:t>S&amp;P Global Market Intelligence ranking as of June 30, 2021.</a:t>
            </a:r>
          </a:p>
          <a:p>
            <a:pPr defTabSz="1625358">
              <a:lnSpc>
                <a:spcPts val="707"/>
              </a:lnSpc>
              <a:tabLst>
                <a:tab pos="78311" algn="l"/>
              </a:tabLst>
              <a:defRPr/>
            </a:pPr>
            <a:r>
              <a:rPr lang="en-US" sz="667" baseline="30000" dirty="0">
                <a:solidFill>
                  <a:srgbClr val="979EA1"/>
                </a:solidFill>
                <a:latin typeface="Poppins Light" panose="02000000000000000000" pitchFamily="2" charset="0"/>
              </a:rPr>
              <a:t>4	</a:t>
            </a:r>
            <a:r>
              <a:rPr lang="en-US" sz="667" dirty="0">
                <a:solidFill>
                  <a:srgbClr val="979EA1"/>
                </a:solidFill>
                <a:latin typeface="Poppins Light" panose="02000000000000000000" pitchFamily="2" charset="0"/>
              </a:rPr>
              <a:t>As of December 31, 2020.</a:t>
            </a:r>
          </a:p>
          <a:p>
            <a:pPr defTabSz="1625358">
              <a:lnSpc>
                <a:spcPts val="707"/>
              </a:lnSpc>
              <a:tabLst>
                <a:tab pos="78313" algn="l"/>
              </a:tabLst>
              <a:defRPr/>
            </a:pPr>
            <a:r>
              <a:rPr lang="en-US" sz="667" baseline="30000" dirty="0">
                <a:solidFill>
                  <a:srgbClr val="979EA1"/>
                </a:solidFill>
                <a:latin typeface="Poppins Light" panose="02000000000000000000" pitchFamily="2" charset="0"/>
              </a:rPr>
              <a:t>5 	</a:t>
            </a:r>
            <a:r>
              <a:rPr lang="en-US" sz="667" dirty="0">
                <a:solidFill>
                  <a:srgbClr val="979EA1"/>
                </a:solidFill>
                <a:latin typeface="Poppins Light" panose="02000000000000000000" pitchFamily="2" charset="0"/>
              </a:rPr>
              <a:t>Bloomberg, September 30, 2021</a:t>
            </a:r>
          </a:p>
          <a:p>
            <a:pPr defTabSz="1625358">
              <a:lnSpc>
                <a:spcPts val="707"/>
              </a:lnSpc>
              <a:tabLst>
                <a:tab pos="78313" algn="l"/>
              </a:tabLst>
              <a:defRPr/>
            </a:pPr>
            <a:r>
              <a:rPr lang="en-US" sz="667" baseline="30000" dirty="0">
                <a:solidFill>
                  <a:srgbClr val="979EA1"/>
                </a:solidFill>
                <a:latin typeface="Poppins Light" panose="02000000000000000000" pitchFamily="2" charset="0"/>
              </a:rPr>
              <a:t>6 	</a:t>
            </a:r>
            <a:r>
              <a:rPr lang="en-US" sz="667" dirty="0">
                <a:solidFill>
                  <a:srgbClr val="979EA1"/>
                </a:solidFill>
                <a:latin typeface="Poppins Light" panose="02000000000000000000" pitchFamily="2" charset="0"/>
              </a:rPr>
              <a:t>Total combined among Commerce Trust Company and Capital Markets Group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66C734B-2169-4C20-8CE2-0D71AAE71A6A}"/>
              </a:ext>
            </a:extLst>
          </p:cNvPr>
          <p:cNvCxnSpPr/>
          <p:nvPr/>
        </p:nvCxnSpPr>
        <p:spPr>
          <a:xfrm>
            <a:off x="3491081" y="5275059"/>
            <a:ext cx="1081979" cy="0"/>
          </a:xfrm>
          <a:prstGeom prst="line">
            <a:avLst/>
          </a:prstGeom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15ECBCE6-1833-4A41-B38E-930B25B85E64}"/>
              </a:ext>
            </a:extLst>
          </p:cNvPr>
          <p:cNvCxnSpPr/>
          <p:nvPr/>
        </p:nvCxnSpPr>
        <p:spPr>
          <a:xfrm>
            <a:off x="4867037" y="5275059"/>
            <a:ext cx="1081979" cy="0"/>
          </a:xfrm>
          <a:prstGeom prst="line">
            <a:avLst/>
          </a:prstGeom>
          <a:ln w="127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7C961413-3C45-43BB-9096-E1B2EAB299EA}"/>
              </a:ext>
            </a:extLst>
          </p:cNvPr>
          <p:cNvSpPr txBox="1">
            <a:spLocks/>
          </p:cNvSpPr>
          <p:nvPr/>
        </p:nvSpPr>
        <p:spPr>
          <a:xfrm>
            <a:off x="6135939" y="3254421"/>
            <a:ext cx="4663440" cy="685800"/>
          </a:xfrm>
          <a:prstGeom prst="rect">
            <a:avLst/>
          </a:prstGeom>
          <a:solidFill>
            <a:schemeClr val="accent5">
              <a:lumMod val="20000"/>
              <a:lumOff val="80000"/>
              <a:alpha val="60000"/>
            </a:schemeClr>
          </a:solidFill>
          <a:ln w="15875">
            <a:noFill/>
            <a:prstDash val="solid"/>
          </a:ln>
        </p:spPr>
        <p:txBody>
          <a:bodyPr lIns="91440" tIns="109728" bIns="13716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6845" indent="0" defTabSz="914309">
              <a:lnSpc>
                <a:spcPts val="2000"/>
              </a:lnSpc>
              <a:buNone/>
              <a:defRPr/>
            </a:pPr>
            <a:r>
              <a:rPr lang="en-US" sz="1600" spc="-40" dirty="0">
                <a:latin typeface="Poppins Medium" panose="02000000000000000000" pitchFamily="2" charset="0"/>
                <a:cs typeface="Poppins Medium" panose="02000000000000000000" pitchFamily="2" charset="0"/>
              </a:rPr>
              <a:t>$1B</a:t>
            </a:r>
            <a:r>
              <a:rPr lang="en-US" sz="1600" spc="-40" baseline="30000" dirty="0">
                <a:latin typeface="Poppins Medium" panose="02000000000000000000" pitchFamily="2" charset="0"/>
                <a:cs typeface="Poppins Medium" panose="02000000000000000000" pitchFamily="2" charset="0"/>
              </a:rPr>
              <a:t>+</a:t>
            </a:r>
            <a:r>
              <a:rPr lang="en-US" sz="1600" spc="-40" dirty="0">
                <a:latin typeface="Poppins Medium" panose="02000000000000000000" pitchFamily="2" charset="0"/>
                <a:cs typeface="Poppins Medium" panose="02000000000000000000" pitchFamily="2" charset="0"/>
              </a:rPr>
              <a:t> </a:t>
            </a:r>
            <a:r>
              <a:rPr lang="en-US" sz="1600" spc="-40" dirty="0">
                <a:latin typeface="Poppins Light" panose="02000000000000000000" pitchFamily="2" charset="0"/>
                <a:cs typeface="Poppins Light" panose="02000000000000000000" pitchFamily="2" charset="0"/>
              </a:rPr>
              <a:t>in loans outstanding and </a:t>
            </a:r>
            <a:r>
              <a:rPr lang="en-US" sz="1600" spc="-40" dirty="0">
                <a:latin typeface="Poppins Medium" panose="02000000000000000000" pitchFamily="2" charset="0"/>
                <a:cs typeface="Poppins Medium" panose="02000000000000000000" pitchFamily="2" charset="0"/>
              </a:rPr>
              <a:t>over $2B </a:t>
            </a:r>
            <a:r>
              <a:rPr lang="en-US" sz="1600" spc="-40" dirty="0">
                <a:latin typeface="Poppins Light" panose="02000000000000000000" pitchFamily="2" charset="0"/>
                <a:cs typeface="Poppins Light" panose="02000000000000000000" pitchFamily="2" charset="0"/>
              </a:rPr>
              <a:t>in healthcare credit commitments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031B25-1D27-432E-A195-EA5E1B0B9D2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8771" y="3233920"/>
            <a:ext cx="731520" cy="73152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CB77AFE5-572C-400D-8C0D-29788BC4AF6C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145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D5F344-5D7F-455E-AC8B-1951CE2AF6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Consumerism Trivi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4ED44B1-44D3-469E-BC39-865A3575009A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250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19C8672-02FB-474B-9475-4CE2E8925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umerism Trivia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1990E0E-8951-403E-94FF-C91D4B288690}"/>
              </a:ext>
            </a:extLst>
          </p:cNvPr>
          <p:cNvGrpSpPr/>
          <p:nvPr/>
        </p:nvGrpSpPr>
        <p:grpSpPr>
          <a:xfrm>
            <a:off x="2899054" y="3182739"/>
            <a:ext cx="5994425" cy="2003036"/>
            <a:chOff x="3109368" y="2871350"/>
            <a:chExt cx="5583873" cy="170276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1416449-5B94-4F4C-88FD-2CD4FEFD92BB}"/>
                </a:ext>
              </a:extLst>
            </p:cNvPr>
            <p:cNvGrpSpPr/>
            <p:nvPr/>
          </p:nvGrpSpPr>
          <p:grpSpPr>
            <a:xfrm>
              <a:off x="3109368" y="2871350"/>
              <a:ext cx="1759035" cy="724564"/>
              <a:chOff x="1025721" y="2704436"/>
              <a:chExt cx="1759035" cy="724564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0029A541-A73C-4AA6-AA7C-C9434A14AE01}"/>
                  </a:ext>
                </a:extLst>
              </p:cNvPr>
              <p:cNvSpPr/>
              <p:nvPr/>
            </p:nvSpPr>
            <p:spPr>
              <a:xfrm>
                <a:off x="1025721" y="2704436"/>
                <a:ext cx="781802" cy="724564"/>
              </a:xfrm>
              <a:prstGeom prst="ellipse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Medium" panose="02000000000000000000" pitchFamily="2" charset="0"/>
                  <a:ea typeface="+mn-ea"/>
                  <a:cs typeface="Poppins Medium" panose="02000000000000000000" pitchFamily="2" charset="0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DAB8DCD-01DA-4FEE-95BE-6CB5671031DC}"/>
                  </a:ext>
                </a:extLst>
              </p:cNvPr>
              <p:cNvSpPr txBox="1"/>
              <p:nvPr/>
            </p:nvSpPr>
            <p:spPr>
              <a:xfrm>
                <a:off x="1255773" y="2794053"/>
                <a:ext cx="321697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Poppins SemiBold" panose="02000000000000000000" pitchFamily="2" charset="0"/>
                    <a:ea typeface="+mn-ea"/>
                    <a:cs typeface="Poppins SemiBold" panose="02000000000000000000" pitchFamily="2" charset="0"/>
                  </a:rPr>
                  <a:t>a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7139FF5B-B0EF-4EED-BC50-A5B745E5E391}"/>
                  </a:ext>
                </a:extLst>
              </p:cNvPr>
              <p:cNvSpPr txBox="1"/>
              <p:nvPr/>
            </p:nvSpPr>
            <p:spPr>
              <a:xfrm>
                <a:off x="1999285" y="2917164"/>
                <a:ext cx="785471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800" dirty="0">
                    <a:solidFill>
                      <a:srgbClr val="53555C"/>
                    </a:solidFill>
                    <a:latin typeface="Poppins" panose="02000000000000000000" pitchFamily="2" charset="0"/>
                    <a:cs typeface="Poppins" panose="02000000000000000000" pitchFamily="2" charset="0"/>
                  </a:rPr>
                  <a:t>11.5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55C"/>
                    </a:solidFill>
                    <a:effectLst/>
                    <a:uLnTx/>
                    <a:uFillTx/>
                    <a:latin typeface="Poppins" panose="02000000000000000000" pitchFamily="2" charset="0"/>
                    <a:ea typeface="+mn-ea"/>
                    <a:cs typeface="Poppins" panose="02000000000000000000" pitchFamily="2" charset="0"/>
                  </a:rPr>
                  <a:t>%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9903360E-D1A1-4806-98D4-75F470D76901}"/>
                </a:ext>
              </a:extLst>
            </p:cNvPr>
            <p:cNvGrpSpPr/>
            <p:nvPr/>
          </p:nvGrpSpPr>
          <p:grpSpPr>
            <a:xfrm>
              <a:off x="3109368" y="3849552"/>
              <a:ext cx="1808730" cy="724563"/>
              <a:chOff x="1019925" y="3238166"/>
              <a:chExt cx="1808730" cy="724563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FCFB18E4-D565-4D13-A29C-D7FF7A73CB7D}"/>
                  </a:ext>
                </a:extLst>
              </p:cNvPr>
              <p:cNvSpPr/>
              <p:nvPr/>
            </p:nvSpPr>
            <p:spPr>
              <a:xfrm>
                <a:off x="1019925" y="3238166"/>
                <a:ext cx="781799" cy="724563"/>
              </a:xfrm>
              <a:prstGeom prst="ellipse">
                <a:avLst/>
              </a:prstGeom>
              <a:solidFill>
                <a:srgbClr val="00B5E2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Medium" panose="02000000000000000000" pitchFamily="2" charset="0"/>
                  <a:ea typeface="+mn-ea"/>
                  <a:cs typeface="Poppins Medium" panose="02000000000000000000" pitchFamily="2" charset="0"/>
                </a:endParaRP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3E6162E7-83CD-45E2-B740-C1436CA15AC6}"/>
                  </a:ext>
                </a:extLst>
              </p:cNvPr>
              <p:cNvGrpSpPr/>
              <p:nvPr/>
            </p:nvGrpSpPr>
            <p:grpSpPr>
              <a:xfrm>
                <a:off x="1249976" y="3387023"/>
                <a:ext cx="1578679" cy="553998"/>
                <a:chOff x="1249976" y="3387023"/>
                <a:chExt cx="1578679" cy="553998"/>
              </a:xfrm>
            </p:grpSpPr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8B796D92-30E9-4E6B-BA93-AFE93A7E8BD4}"/>
                    </a:ext>
                  </a:extLst>
                </p:cNvPr>
                <p:cNvSpPr txBox="1"/>
                <p:nvPr/>
              </p:nvSpPr>
              <p:spPr>
                <a:xfrm>
                  <a:off x="1249976" y="3387023"/>
                  <a:ext cx="321697" cy="55399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  <a:uLnTx/>
                      <a:uFillTx/>
                      <a:latin typeface="Poppins SemiBold" panose="02000000000000000000" pitchFamily="2" charset="0"/>
                      <a:ea typeface="+mn-ea"/>
                      <a:cs typeface="Poppins SemiBold" panose="02000000000000000000" pitchFamily="2" charset="0"/>
                    </a:rPr>
                    <a:t>b</a:t>
                  </a:r>
                </a:p>
              </p:txBody>
            </p:sp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95211399-FCCD-406B-B94B-D1AC387389BC}"/>
                    </a:ext>
                  </a:extLst>
                </p:cNvPr>
                <p:cNvSpPr txBox="1"/>
                <p:nvPr/>
              </p:nvSpPr>
              <p:spPr>
                <a:xfrm>
                  <a:off x="1947003" y="3481914"/>
                  <a:ext cx="881652" cy="43088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US" sz="2800" dirty="0">
                      <a:solidFill>
                        <a:srgbClr val="53555C"/>
                      </a:solidFill>
                      <a:latin typeface="Poppins" panose="02000000000000000000" pitchFamily="2" charset="0"/>
                      <a:cs typeface="Poppins" panose="02000000000000000000" pitchFamily="2" charset="0"/>
                    </a:rPr>
                    <a:t>30.1</a:t>
                  </a:r>
                  <a:r>
                    <a:rPr kumimoji="0" lang="en-US" sz="2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3555C"/>
                      </a:solidFill>
                      <a:effectLst/>
                      <a:uLnTx/>
                      <a:uFillTx/>
                      <a:latin typeface="Poppins" panose="02000000000000000000" pitchFamily="2" charset="0"/>
                      <a:ea typeface="+mn-ea"/>
                      <a:cs typeface="Poppins" panose="02000000000000000000" pitchFamily="2" charset="0"/>
                    </a:rPr>
                    <a:t>%</a:t>
                  </a:r>
                </a:p>
              </p:txBody>
            </p:sp>
          </p:grp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A81ACA5-849B-43F1-9109-B05567A0470C}"/>
                </a:ext>
              </a:extLst>
            </p:cNvPr>
            <p:cNvGrpSpPr/>
            <p:nvPr/>
          </p:nvGrpSpPr>
          <p:grpSpPr>
            <a:xfrm>
              <a:off x="6827846" y="2871351"/>
              <a:ext cx="1833765" cy="724563"/>
              <a:chOff x="1019924" y="3912041"/>
              <a:chExt cx="1833765" cy="724563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47190944-83E5-4810-ABF2-5DD328481A11}"/>
                  </a:ext>
                </a:extLst>
              </p:cNvPr>
              <p:cNvSpPr/>
              <p:nvPr/>
            </p:nvSpPr>
            <p:spPr>
              <a:xfrm>
                <a:off x="1019924" y="3912041"/>
                <a:ext cx="781801" cy="724563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Medium" panose="02000000000000000000" pitchFamily="2" charset="0"/>
                  <a:ea typeface="+mn-ea"/>
                  <a:cs typeface="Poppins Medium" panose="02000000000000000000" pitchFamily="2" charset="0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4BA9804-F789-4B12-871E-28EEF3005674}"/>
                  </a:ext>
                </a:extLst>
              </p:cNvPr>
              <p:cNvSpPr txBox="1"/>
              <p:nvPr/>
            </p:nvSpPr>
            <p:spPr>
              <a:xfrm>
                <a:off x="1249975" y="4024888"/>
                <a:ext cx="321697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Poppins SemiBold" panose="02000000000000000000" pitchFamily="2" charset="0"/>
                    <a:ea typeface="+mn-ea"/>
                    <a:cs typeface="Poppins SemiBold" panose="02000000000000000000" pitchFamily="2" charset="0"/>
                  </a:rPr>
                  <a:t>c</a:t>
                </a: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29DE3317-5D28-4B5F-AFDF-BC5A9DD7099D}"/>
                  </a:ext>
                </a:extLst>
              </p:cNvPr>
              <p:cNvSpPr txBox="1"/>
              <p:nvPr/>
            </p:nvSpPr>
            <p:spPr>
              <a:xfrm>
                <a:off x="1906314" y="4124188"/>
                <a:ext cx="947375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800" dirty="0">
                    <a:solidFill>
                      <a:srgbClr val="53555C"/>
                    </a:solidFill>
                    <a:latin typeface="Poppins" panose="02000000000000000000" pitchFamily="2" charset="0"/>
                    <a:cs typeface="Poppins" panose="02000000000000000000" pitchFamily="2" charset="0"/>
                  </a:rPr>
                  <a:t>23.7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55C"/>
                    </a:solidFill>
                    <a:effectLst/>
                    <a:uLnTx/>
                    <a:uFillTx/>
                    <a:latin typeface="Poppins" panose="02000000000000000000" pitchFamily="2" charset="0"/>
                    <a:ea typeface="+mn-ea"/>
                    <a:cs typeface="Poppins" panose="02000000000000000000" pitchFamily="2" charset="0"/>
                  </a:rPr>
                  <a:t>%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B677669-5EE7-4D51-B6E0-3162A217418A}"/>
                </a:ext>
              </a:extLst>
            </p:cNvPr>
            <p:cNvGrpSpPr/>
            <p:nvPr/>
          </p:nvGrpSpPr>
          <p:grpSpPr>
            <a:xfrm>
              <a:off x="6816196" y="3849552"/>
              <a:ext cx="1877045" cy="724563"/>
              <a:chOff x="1019925" y="4714130"/>
              <a:chExt cx="1877045" cy="724563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A27D89D-B9C8-42D4-8591-2F3E05C77862}"/>
                  </a:ext>
                </a:extLst>
              </p:cNvPr>
              <p:cNvSpPr/>
              <p:nvPr/>
            </p:nvSpPr>
            <p:spPr>
              <a:xfrm>
                <a:off x="1019925" y="4714130"/>
                <a:ext cx="781800" cy="724563"/>
              </a:xfrm>
              <a:prstGeom prst="ellipse">
                <a:avLst/>
              </a:prstGeom>
              <a:solidFill>
                <a:srgbClr val="006747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oppins Medium" panose="02000000000000000000" pitchFamily="2" charset="0"/>
                  <a:ea typeface="+mn-ea"/>
                  <a:cs typeface="Poppins Medium" panose="02000000000000000000" pitchFamily="2" charset="0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E77C0BC-4BC4-4AFA-ADE1-7A4A8348E800}"/>
                  </a:ext>
                </a:extLst>
              </p:cNvPr>
              <p:cNvSpPr txBox="1"/>
              <p:nvPr/>
            </p:nvSpPr>
            <p:spPr>
              <a:xfrm>
                <a:off x="1249975" y="4828725"/>
                <a:ext cx="286745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Poppins SemiBold" panose="02000000000000000000" pitchFamily="2" charset="0"/>
                    <a:ea typeface="+mn-ea"/>
                    <a:cs typeface="Poppins SemiBold" panose="02000000000000000000" pitchFamily="2" charset="0"/>
                  </a:rPr>
                  <a:t>d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649BAC12-C540-4920-9C6E-7A5F72FAEBB0}"/>
                  </a:ext>
                </a:extLst>
              </p:cNvPr>
              <p:cNvSpPr txBox="1"/>
              <p:nvPr/>
            </p:nvSpPr>
            <p:spPr>
              <a:xfrm>
                <a:off x="1903108" y="4890280"/>
                <a:ext cx="993862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800" dirty="0">
                    <a:solidFill>
                      <a:srgbClr val="53555C"/>
                    </a:solidFill>
                    <a:latin typeface="Poppins" panose="02000000000000000000" pitchFamily="2" charset="0"/>
                    <a:cs typeface="Poppins" panose="02000000000000000000" pitchFamily="2" charset="0"/>
                  </a:rPr>
                  <a:t>48.3</a:t>
                </a:r>
                <a:r>
                  <a:rPr kumimoji="0" lang="en-US" sz="2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3555C"/>
                    </a:solidFill>
                    <a:effectLst/>
                    <a:uLnTx/>
                    <a:uFillTx/>
                    <a:latin typeface="Poppins" panose="02000000000000000000" pitchFamily="2" charset="0"/>
                    <a:ea typeface="+mn-ea"/>
                    <a:cs typeface="Poppins" panose="02000000000000000000" pitchFamily="2" charset="0"/>
                  </a:rPr>
                  <a:t>%</a:t>
                </a:r>
              </a:p>
            </p:txBody>
          </p: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9177CE0-EA30-4AFE-B207-5B6E66A4E9EC}"/>
              </a:ext>
            </a:extLst>
          </p:cNvPr>
          <p:cNvSpPr/>
          <p:nvPr/>
        </p:nvSpPr>
        <p:spPr>
          <a:xfrm>
            <a:off x="609600" y="1543287"/>
            <a:ext cx="1131517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latin typeface="Poppins" panose="02000000000000000000" pitchFamily="2" charset="0"/>
                <a:cs typeface="Poppins" panose="02000000000000000000" pitchFamily="2" charset="0"/>
              </a:rPr>
              <a:t>Combined premium contributions and deductibles have grown to reach ___% of median household income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20EB1BB-2FD1-4305-8675-0948FB32DEE8}"/>
              </a:ext>
            </a:extLst>
          </p:cNvPr>
          <p:cNvSpPr/>
          <p:nvPr/>
        </p:nvSpPr>
        <p:spPr>
          <a:xfrm>
            <a:off x="8680175" y="6098877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700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B8EB2-39E1-497A-9E37-A306E851E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onsumerism Trivia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FFEED3A1-4524-4BEF-B108-C203832926EB}"/>
              </a:ext>
            </a:extLst>
          </p:cNvPr>
          <p:cNvSpPr txBox="1">
            <a:spLocks/>
          </p:cNvSpPr>
          <p:nvPr/>
        </p:nvSpPr>
        <p:spPr>
          <a:xfrm>
            <a:off x="4145259" y="3269622"/>
            <a:ext cx="1358283" cy="322936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53555C"/>
                </a:solidFill>
                <a:latin typeface="Poppins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Poppins SemiBold" panose="02000000000000000000" pitchFamily="2" charset="0"/>
                <a:ea typeface="+mn-ea"/>
                <a:cs typeface="Poppins SemiBold" panose="02000000000000000000" pitchFamily="2" charset="0"/>
              </a:rPr>
              <a:t>Answer: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Poppins SemiBold" panose="02000000000000000000" pitchFamily="2" charset="0"/>
              <a:ea typeface="+mn-ea"/>
              <a:cs typeface="Poppins SemiBold" panose="02000000000000000000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64AEA0-73C1-4670-9194-0BA10E297F58}"/>
              </a:ext>
            </a:extLst>
          </p:cNvPr>
          <p:cNvSpPr/>
          <p:nvPr/>
        </p:nvSpPr>
        <p:spPr>
          <a:xfrm>
            <a:off x="149605" y="6131436"/>
            <a:ext cx="6717726" cy="6794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400" dirty="0"/>
              <a:t>Source: Commonwealth Fund, Trends in Employer Health Care Coverage 2008-2018, November 2019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3555C"/>
              </a:solidFill>
              <a:effectLst/>
              <a:uLnTx/>
              <a:uFillTx/>
              <a:latin typeface="Poppins" panose="02000000000000000000" pitchFamily="2" charset="0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756B5B4-8A81-4310-910A-53ED14953AB8}"/>
              </a:ext>
            </a:extLst>
          </p:cNvPr>
          <p:cNvSpPr/>
          <p:nvPr/>
        </p:nvSpPr>
        <p:spPr>
          <a:xfrm>
            <a:off x="5761788" y="3002832"/>
            <a:ext cx="839284" cy="852336"/>
          </a:xfrm>
          <a:prstGeom prst="ellipse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Medium" panose="02000000000000000000" pitchFamily="2" charset="0"/>
              <a:ea typeface="+mn-ea"/>
              <a:cs typeface="Poppins Medium" panose="02000000000000000000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2989B02-93B7-4F38-BC17-B14B130746A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788" y="3016955"/>
            <a:ext cx="926672" cy="101812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857F410C-916B-418A-BF57-0137592A3D16}"/>
              </a:ext>
            </a:extLst>
          </p:cNvPr>
          <p:cNvSpPr/>
          <p:nvPr/>
        </p:nvSpPr>
        <p:spPr>
          <a:xfrm>
            <a:off x="505072" y="1380549"/>
            <a:ext cx="1138212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>
                <a:latin typeface="Poppins" panose="02000000000000000000" pitchFamily="2" charset="0"/>
                <a:cs typeface="Poppins" panose="02000000000000000000" pitchFamily="2" charset="0"/>
              </a:rPr>
              <a:t>Combined premium contributions and deductibles have grown to reach ___% of median household income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A23D917-4EC4-40DD-91D6-60C0A6A32450}"/>
              </a:ext>
            </a:extLst>
          </p:cNvPr>
          <p:cNvSpPr txBox="1"/>
          <p:nvPr/>
        </p:nvSpPr>
        <p:spPr>
          <a:xfrm>
            <a:off x="6671303" y="3221136"/>
            <a:ext cx="785471" cy="43088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53555C"/>
                </a:solidFill>
                <a:latin typeface="Poppins" panose="02000000000000000000" pitchFamily="2" charset="0"/>
                <a:cs typeface="Poppins" panose="02000000000000000000" pitchFamily="2" charset="0"/>
              </a:rPr>
              <a:t>11.5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53555C"/>
                </a:solidFill>
                <a:effectLst/>
                <a:uLnTx/>
                <a:uFillTx/>
                <a:latin typeface="Poppins" panose="02000000000000000000" pitchFamily="2" charset="0"/>
                <a:ea typeface="+mn-ea"/>
                <a:cs typeface="Poppins" panose="02000000000000000000" pitchFamily="2" charset="0"/>
              </a:rPr>
              <a:t>%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EA6B02E-7B15-47C8-8561-2E7A9166965B}"/>
              </a:ext>
            </a:extLst>
          </p:cNvPr>
          <p:cNvSpPr/>
          <p:nvPr/>
        </p:nvSpPr>
        <p:spPr>
          <a:xfrm>
            <a:off x="8613914" y="6135822"/>
            <a:ext cx="3105646" cy="5506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802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ommerceHealthcare">
  <a:themeElements>
    <a:clrScheme name="Custom 1">
      <a:dk1>
        <a:srgbClr val="53555C"/>
      </a:dk1>
      <a:lt1>
        <a:srgbClr val="FFFFFF"/>
      </a:lt1>
      <a:dk2>
        <a:srgbClr val="006747"/>
      </a:dk2>
      <a:lt2>
        <a:srgbClr val="78BE43"/>
      </a:lt2>
      <a:accent1>
        <a:srgbClr val="78BE43"/>
      </a:accent1>
      <a:accent2>
        <a:srgbClr val="006747"/>
      </a:accent2>
      <a:accent3>
        <a:srgbClr val="00B5E2"/>
      </a:accent3>
      <a:accent4>
        <a:srgbClr val="FFCF0B"/>
      </a:accent4>
      <a:accent5>
        <a:srgbClr val="979EA1"/>
      </a:accent5>
      <a:accent6>
        <a:srgbClr val="53555C"/>
      </a:accent6>
      <a:hlink>
        <a:srgbClr val="78BE43"/>
      </a:hlink>
      <a:folHlink>
        <a:srgbClr val="53555C"/>
      </a:folHlink>
    </a:clrScheme>
    <a:fontScheme name="Commerce Bank Template">
      <a:majorFont>
        <a:latin typeface="Cera PRO Light"/>
        <a:ea typeface=""/>
        <a:cs typeface=""/>
      </a:majorFont>
      <a:minorFont>
        <a:latin typeface="Cera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 anchor="ctr" anchorCtr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mmerceHealthcare" id="{FAEB7365-73F0-4769-8480-59440350ED18}" vid="{8F01F396-E6CA-485A-B81A-48D91861255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ommerceHealthcare-Q42021">
  <a:themeElements>
    <a:clrScheme name="Custom 1">
      <a:dk1>
        <a:srgbClr val="53555C"/>
      </a:dk1>
      <a:lt1>
        <a:srgbClr val="FFFFFF"/>
      </a:lt1>
      <a:dk2>
        <a:srgbClr val="006747"/>
      </a:dk2>
      <a:lt2>
        <a:srgbClr val="78BE43"/>
      </a:lt2>
      <a:accent1>
        <a:srgbClr val="78BE43"/>
      </a:accent1>
      <a:accent2>
        <a:srgbClr val="006747"/>
      </a:accent2>
      <a:accent3>
        <a:srgbClr val="00B5E2"/>
      </a:accent3>
      <a:accent4>
        <a:srgbClr val="FFCF0B"/>
      </a:accent4>
      <a:accent5>
        <a:srgbClr val="979EA1"/>
      </a:accent5>
      <a:accent6>
        <a:srgbClr val="53555C"/>
      </a:accent6>
      <a:hlink>
        <a:srgbClr val="78BE43"/>
      </a:hlink>
      <a:folHlink>
        <a:srgbClr val="53555C"/>
      </a:folHlink>
    </a:clrScheme>
    <a:fontScheme name="Poppins-01">
      <a:majorFont>
        <a:latin typeface="Poppins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ctr" anchorCtr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mmerceHealthcare" id="{FAEB7365-73F0-4769-8480-59440350ED18}" vid="{8F01F396-E6CA-485A-B81A-48D918612556}"/>
    </a:ext>
  </a:extLst>
</a:theme>
</file>

<file path=ppt/theme/theme4.xml><?xml version="1.0" encoding="utf-8"?>
<a:theme xmlns:a="http://schemas.openxmlformats.org/drawingml/2006/main" name="3_CommerceBank-Q42021">
  <a:themeElements>
    <a:clrScheme name="Commerce01">
      <a:dk1>
        <a:srgbClr val="53555C"/>
      </a:dk1>
      <a:lt1>
        <a:srgbClr val="FFFFFF"/>
      </a:lt1>
      <a:dk2>
        <a:srgbClr val="006747"/>
      </a:dk2>
      <a:lt2>
        <a:srgbClr val="78BE43"/>
      </a:lt2>
      <a:accent1>
        <a:srgbClr val="78BE43"/>
      </a:accent1>
      <a:accent2>
        <a:srgbClr val="006747"/>
      </a:accent2>
      <a:accent3>
        <a:srgbClr val="00B5E2"/>
      </a:accent3>
      <a:accent4>
        <a:srgbClr val="FFCF0B"/>
      </a:accent4>
      <a:accent5>
        <a:srgbClr val="979EA1"/>
      </a:accent5>
      <a:accent6>
        <a:srgbClr val="53555C"/>
      </a:accent6>
      <a:hlink>
        <a:srgbClr val="78BE43"/>
      </a:hlink>
      <a:folHlink>
        <a:srgbClr val="53555C"/>
      </a:folHlink>
    </a:clrScheme>
    <a:fontScheme name="Poppins-01">
      <a:majorFont>
        <a:latin typeface="Poppins"/>
        <a:ea typeface=""/>
        <a:cs typeface=""/>
      </a:majorFont>
      <a:minorFont>
        <a:latin typeface="Poppi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dirty="0" smtClean="0">
            <a:latin typeface="Poppins Light" panose="02000000000000000000" pitchFamily="2" charset="0"/>
            <a:cs typeface="Poppins Light" panose="020000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8ECA8D681E47E43A59517B29E5D7F76" ma:contentTypeVersion="10" ma:contentTypeDescription="Create a new document." ma:contentTypeScope="" ma:versionID="ae16198da8f6e7139ddd3422399f48e9">
  <xsd:schema xmlns:xsd="http://www.w3.org/2001/XMLSchema" xmlns:xs="http://www.w3.org/2001/XMLSchema" xmlns:p="http://schemas.microsoft.com/office/2006/metadata/properties" xmlns:ns3="43ba2e0c-4102-46ef-889a-fe46042eba41" xmlns:ns4="15ad7d4e-1f7a-49bb-addc-7d32795c567d" targetNamespace="http://schemas.microsoft.com/office/2006/metadata/properties" ma:root="true" ma:fieldsID="a7e7667e662d0639a5c89718a5b64336" ns3:_="" ns4:_="">
    <xsd:import namespace="43ba2e0c-4102-46ef-889a-fe46042eba41"/>
    <xsd:import namespace="15ad7d4e-1f7a-49bb-addc-7d32795c567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ba2e0c-4102-46ef-889a-fe46042eba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ad7d4e-1f7a-49bb-addc-7d32795c567d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E1C47CE-05CE-4F90-8092-A9323ECF01D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1BE1735-2C3F-45C2-8AF2-8B35BF6C8C7D}">
  <ds:schemaRefs>
    <ds:schemaRef ds:uri="15ad7d4e-1f7a-49bb-addc-7d32795c567d"/>
    <ds:schemaRef ds:uri="43ba2e0c-4102-46ef-889a-fe46042eba4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7170117-A084-4127-920F-937F00554038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15ad7d4e-1f7a-49bb-addc-7d32795c567d"/>
    <ds:schemaRef ds:uri="http://purl.org/dc/elements/1.1/"/>
    <ds:schemaRef ds:uri="43ba2e0c-4102-46ef-889a-fe46042eba41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81</TotalTime>
  <Words>1232</Words>
  <Application>Microsoft Office PowerPoint</Application>
  <PresentationFormat>Widescreen</PresentationFormat>
  <Paragraphs>320</Paragraphs>
  <Slides>46</Slides>
  <Notes>44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70" baseType="lpstr">
      <vt:lpstr>Century Gothic</vt:lpstr>
      <vt:lpstr>Cera PRO Light</vt:lpstr>
      <vt:lpstr>Arial</vt:lpstr>
      <vt:lpstr>Calibri Light</vt:lpstr>
      <vt:lpstr>Verdana Pro Cond Black</vt:lpstr>
      <vt:lpstr>Montserrat Semi</vt:lpstr>
      <vt:lpstr>Cera PRO</vt:lpstr>
      <vt:lpstr>Roboto Light</vt:lpstr>
      <vt:lpstr>Arial</vt:lpstr>
      <vt:lpstr>Courier New</vt:lpstr>
      <vt:lpstr>Poppins</vt:lpstr>
      <vt:lpstr>Poppins SemiBold</vt:lpstr>
      <vt:lpstr>Calibri</vt:lpstr>
      <vt:lpstr>Wingdings</vt:lpstr>
      <vt:lpstr>Poppins Medium</vt:lpstr>
      <vt:lpstr>Montserrat</vt:lpstr>
      <vt:lpstr>Gill Sans</vt:lpstr>
      <vt:lpstr>Poppins Light</vt:lpstr>
      <vt:lpstr>3_CommerceHealthcare</vt:lpstr>
      <vt:lpstr>Office Theme</vt:lpstr>
      <vt:lpstr>CommerceHealthcare-Q42021</vt:lpstr>
      <vt:lpstr>3_CommerceBank-Q42021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mmerce Bank is CommerceHealthcare®</vt:lpstr>
      <vt:lpstr>Consumerism Trivia</vt:lpstr>
      <vt:lpstr>Consumerism Trivia</vt:lpstr>
      <vt:lpstr>Consumerism Trivia</vt:lpstr>
      <vt:lpstr>Consumerism Trivia</vt:lpstr>
      <vt:lpstr>Consumerism Trivia</vt:lpstr>
      <vt:lpstr>Consumerism Trivia</vt:lpstr>
      <vt:lpstr>Consumerism Trivi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y Drivers &amp; Catalysts for Change</vt:lpstr>
      <vt:lpstr>PowerPoint Presentation</vt:lpstr>
      <vt:lpstr>PowerPoint Presentation</vt:lpstr>
      <vt:lpstr>PowerPoint Presentation</vt:lpstr>
      <vt:lpstr>What We Heard | Industry Trends</vt:lpstr>
      <vt:lpstr>PowerPoint Presentation</vt:lpstr>
      <vt:lpstr>PowerPoint Presentation</vt:lpstr>
      <vt:lpstr>PowerPoint Presentation</vt:lpstr>
      <vt:lpstr>More specifically how much do we owe?</vt:lpstr>
      <vt:lpstr>PowerPoint Presentation</vt:lpstr>
      <vt:lpstr>Patients Want More Options</vt:lpstr>
      <vt:lpstr>PowerPoint Presentation</vt:lpstr>
      <vt:lpstr>What Patients are Seeking</vt:lpstr>
      <vt:lpstr>PowerPoint Presentation</vt:lpstr>
      <vt:lpstr>Consumer’s Hierarchy of Payment Priority</vt:lpstr>
      <vt:lpstr>Comparing Recourse and Non-Recourse</vt:lpstr>
      <vt:lpstr>PowerPoint Presentation</vt:lpstr>
      <vt:lpstr>Avg. Payment Amount by State</vt:lpstr>
      <vt:lpstr>PowerPoint Presentation</vt:lpstr>
      <vt:lpstr>  Improved Revenue Cycle</vt:lpstr>
      <vt:lpstr>Focus on maximizing staff</vt:lpstr>
      <vt:lpstr>Let’s be honest.</vt:lpstr>
      <vt:lpstr>PowerPoint Presentation</vt:lpstr>
      <vt:lpstr>Measuring Costs/Calculating Value</vt:lpstr>
      <vt:lpstr>In-House Payment Plans: Measuring Costs/Calculating Value</vt:lpstr>
      <vt:lpstr>PowerPoint Presentation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merford, Chris</dc:creator>
  <cp:lastModifiedBy>St. Eve, Taylor</cp:lastModifiedBy>
  <cp:revision>110</cp:revision>
  <cp:lastPrinted>2022-03-01T22:36:07Z</cp:lastPrinted>
  <dcterms:created xsi:type="dcterms:W3CDTF">2021-02-12T23:20:17Z</dcterms:created>
  <dcterms:modified xsi:type="dcterms:W3CDTF">2022-03-08T18:42:14Z</dcterms:modified>
</cp:coreProperties>
</file>